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7"/>
  </p:notesMasterIdLst>
  <p:sldIdLst>
    <p:sldId id="270" r:id="rId2"/>
    <p:sldId id="271" r:id="rId3"/>
    <p:sldId id="290" r:id="rId4"/>
    <p:sldId id="289" r:id="rId5"/>
    <p:sldId id="291" r:id="rId6"/>
    <p:sldId id="463" r:id="rId7"/>
    <p:sldId id="292" r:id="rId8"/>
    <p:sldId id="294" r:id="rId9"/>
    <p:sldId id="279" r:id="rId10"/>
    <p:sldId id="462" r:id="rId11"/>
    <p:sldId id="458" r:id="rId12"/>
    <p:sldId id="296" r:id="rId13"/>
    <p:sldId id="282" r:id="rId14"/>
    <p:sldId id="298" r:id="rId15"/>
    <p:sldId id="457" r:id="rId16"/>
    <p:sldId id="459" r:id="rId17"/>
    <p:sldId id="460" r:id="rId18"/>
    <p:sldId id="284" r:id="rId19"/>
    <p:sldId id="299" r:id="rId20"/>
    <p:sldId id="300" r:id="rId21"/>
    <p:sldId id="301" r:id="rId22"/>
    <p:sldId id="302" r:id="rId23"/>
    <p:sldId id="303" r:id="rId24"/>
    <p:sldId id="308" r:id="rId25"/>
    <p:sldId id="309" r:id="rId26"/>
    <p:sldId id="310" r:id="rId27"/>
    <p:sldId id="311" r:id="rId28"/>
    <p:sldId id="312" r:id="rId29"/>
    <p:sldId id="313" r:id="rId30"/>
    <p:sldId id="306" r:id="rId31"/>
    <p:sldId id="307" r:id="rId32"/>
    <p:sldId id="314" r:id="rId33"/>
    <p:sldId id="464" r:id="rId34"/>
    <p:sldId id="465" r:id="rId35"/>
    <p:sldId id="466" r:id="rId36"/>
    <p:sldId id="467" r:id="rId37"/>
    <p:sldId id="472" r:id="rId38"/>
    <p:sldId id="257" r:id="rId39"/>
    <p:sldId id="456" r:id="rId40"/>
    <p:sldId id="261" r:id="rId41"/>
    <p:sldId id="262" r:id="rId42"/>
    <p:sldId id="258" r:id="rId43"/>
    <p:sldId id="263" r:id="rId44"/>
    <p:sldId id="264" r:id="rId45"/>
    <p:sldId id="260" r:id="rId46"/>
    <p:sldId id="265" r:id="rId47"/>
    <p:sldId id="266" r:id="rId48"/>
    <p:sldId id="267" r:id="rId49"/>
    <p:sldId id="269" r:id="rId50"/>
    <p:sldId id="468" r:id="rId51"/>
    <p:sldId id="469" r:id="rId52"/>
    <p:sldId id="470" r:id="rId53"/>
    <p:sldId id="471" r:id="rId54"/>
    <p:sldId id="473" r:id="rId55"/>
    <p:sldId id="275" r:id="rId56"/>
  </p:sldIdLst>
  <p:sldSz cx="14630400" cy="8229600"/>
  <p:notesSz cx="8229600" cy="14630400"/>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770"/>
    <p:restoredTop sz="95714"/>
  </p:normalViewPr>
  <p:slideViewPr>
    <p:cSldViewPr snapToGrid="0" snapToObjects="1">
      <p:cViewPr>
        <p:scale>
          <a:sx n="91" d="100"/>
          <a:sy n="91" d="100"/>
        </p:scale>
        <p:origin x="440" y="184"/>
      </p:cViewPr>
      <p:guideLst/>
    </p:cSldViewPr>
  </p:slideViewPr>
  <p:outlineViewPr>
    <p:cViewPr>
      <p:scale>
        <a:sx n="33" d="100"/>
        <a:sy n="33" d="100"/>
      </p:scale>
      <p:origin x="0" y="-1738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tableStyles" Target="tableStyle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oleObject" Target="file:////Users\AmaFenny\Downloads\TOTAL_ECASAR%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AmaFenny\Documents\ECASARH_IDRC%20project\Costing\Results\Recent\TOTAL_ECASAR%20Activity%20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AmaFenny\Downloads\TOTAL_ECASAR%2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42373619606562"/>
          <c:y val="2.7287751127226392E-2"/>
          <c:w val="0.83242652608338119"/>
          <c:h val="0.82090686939994573"/>
        </c:manualLayout>
      </c:layout>
      <c:barChart>
        <c:barDir val="col"/>
        <c:grouping val="clustered"/>
        <c:varyColors val="0"/>
        <c:ser>
          <c:idx val="0"/>
          <c:order val="0"/>
          <c:spPr>
            <a:solidFill>
              <a:schemeClr val="accent1"/>
            </a:solidFill>
            <a:ln>
              <a:noFill/>
            </a:ln>
            <a:effectLst/>
          </c:spPr>
          <c:invertIfNegative val="0"/>
          <c:cat>
            <c:numRef>
              <c:f>Dashboard!$B$22:$B$28</c:f>
              <c:numCache>
                <c:formatCode>General</c:formatCode>
                <c:ptCount val="7"/>
                <c:pt idx="0">
                  <c:v>2015</c:v>
                </c:pt>
                <c:pt idx="1">
                  <c:v>2016</c:v>
                </c:pt>
                <c:pt idx="2">
                  <c:v>2017</c:v>
                </c:pt>
                <c:pt idx="3">
                  <c:v>2018</c:v>
                </c:pt>
                <c:pt idx="4">
                  <c:v>2019</c:v>
                </c:pt>
                <c:pt idx="5">
                  <c:v>2020</c:v>
                </c:pt>
                <c:pt idx="6">
                  <c:v>2021</c:v>
                </c:pt>
              </c:numCache>
            </c:numRef>
          </c:cat>
          <c:val>
            <c:numRef>
              <c:f>Dashboard!$C$22:$C$28</c:f>
              <c:numCache>
                <c:formatCode>#,##0</c:formatCode>
                <c:ptCount val="7"/>
                <c:pt idx="0">
                  <c:v>8333956</c:v>
                </c:pt>
                <c:pt idx="1">
                  <c:v>1966561</c:v>
                </c:pt>
                <c:pt idx="2">
                  <c:v>254390</c:v>
                </c:pt>
                <c:pt idx="3">
                  <c:v>4686866</c:v>
                </c:pt>
                <c:pt idx="4">
                  <c:v>9507367</c:v>
                </c:pt>
                <c:pt idx="5">
                  <c:v>12782589</c:v>
                </c:pt>
                <c:pt idx="6">
                  <c:v>8577029</c:v>
                </c:pt>
              </c:numCache>
            </c:numRef>
          </c:val>
          <c:extLst>
            <c:ext xmlns:c16="http://schemas.microsoft.com/office/drawing/2014/chart" uri="{C3380CC4-5D6E-409C-BE32-E72D297353CC}">
              <c16:uniqueId val="{00000000-5805-114D-AFF8-6EF4369C3B25}"/>
            </c:ext>
          </c:extLst>
        </c:ser>
        <c:dLbls>
          <c:showLegendKey val="0"/>
          <c:showVal val="0"/>
          <c:showCatName val="0"/>
          <c:showSerName val="0"/>
          <c:showPercent val="0"/>
          <c:showBubbleSize val="0"/>
        </c:dLbls>
        <c:gapWidth val="219"/>
        <c:overlap val="-27"/>
        <c:axId val="1256571952"/>
        <c:axId val="1256573600"/>
      </c:barChart>
      <c:catAx>
        <c:axId val="1256571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GH"/>
          </a:p>
        </c:txPr>
        <c:crossAx val="1256573600"/>
        <c:crosses val="autoZero"/>
        <c:auto val="1"/>
        <c:lblAlgn val="ctr"/>
        <c:lblOffset val="100"/>
        <c:noMultiLvlLbl val="0"/>
      </c:catAx>
      <c:valAx>
        <c:axId val="12565736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GH"/>
          </a:p>
        </c:txPr>
        <c:crossAx val="12565719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G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8571428571427"/>
          <c:y val="9.1145833333333329E-2"/>
          <c:w val="0.5714285714285714"/>
          <c:h val="0.81770833333333337"/>
        </c:manualLayout>
      </c:layout>
      <c:pieChart>
        <c:varyColors val="1"/>
        <c:ser>
          <c:idx val="0"/>
          <c:order val="0"/>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984F-AD43-927D-64AE1964A024}"/>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984F-AD43-927D-64AE1964A024}"/>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984F-AD43-927D-64AE1964A024}"/>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984F-AD43-927D-64AE1964A024}"/>
              </c:ext>
            </c:extLst>
          </c:dPt>
          <c:dLbls>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GH"/>
                </a:p>
              </c:txPr>
              <c:dLblPos val="outEnd"/>
              <c:showLegendKey val="0"/>
              <c:showVal val="0"/>
              <c:showCatName val="1"/>
              <c:showSerName val="0"/>
              <c:showPercent val="1"/>
              <c:showBubbleSize val="0"/>
              <c:extLst>
                <c:ext xmlns:c16="http://schemas.microsoft.com/office/drawing/2014/chart" uri="{C3380CC4-5D6E-409C-BE32-E72D297353CC}">
                  <c16:uniqueId val="{00000001-984F-AD43-927D-64AE1964A024}"/>
                </c:ext>
              </c:extLst>
            </c:dLbl>
            <c:dLbl>
              <c:idx val="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solidFill>
                      <a:latin typeface="+mn-lt"/>
                      <a:ea typeface="+mn-ea"/>
                      <a:cs typeface="+mn-cs"/>
                    </a:defRPr>
                  </a:pPr>
                  <a:endParaRPr lang="en-GH"/>
                </a:p>
              </c:txPr>
              <c:dLblPos val="outEnd"/>
              <c:showLegendKey val="0"/>
              <c:showVal val="0"/>
              <c:showCatName val="1"/>
              <c:showSerName val="0"/>
              <c:showPercent val="1"/>
              <c:showBubbleSize val="0"/>
              <c:extLst>
                <c:ext xmlns:c16="http://schemas.microsoft.com/office/drawing/2014/chart" uri="{C3380CC4-5D6E-409C-BE32-E72D297353CC}">
                  <c16:uniqueId val="{00000003-984F-AD43-927D-64AE1964A024}"/>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GH"/>
                </a:p>
              </c:txPr>
              <c:dLblPos val="outEnd"/>
              <c:showLegendKey val="0"/>
              <c:showVal val="0"/>
              <c:showCatName val="1"/>
              <c:showSerName val="0"/>
              <c:showPercent val="1"/>
              <c:showBubbleSize val="0"/>
              <c:extLst>
                <c:ext xmlns:c16="http://schemas.microsoft.com/office/drawing/2014/chart" uri="{C3380CC4-5D6E-409C-BE32-E72D297353CC}">
                  <c16:uniqueId val="{00000005-984F-AD43-927D-64AE1964A024}"/>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en-GH"/>
                </a:p>
              </c:txPr>
              <c:dLblPos val="outEnd"/>
              <c:showLegendKey val="0"/>
              <c:showVal val="0"/>
              <c:showCatName val="1"/>
              <c:showSerName val="0"/>
              <c:showPercent val="1"/>
              <c:showBubbleSize val="0"/>
              <c:extLst>
                <c:ext xmlns:c16="http://schemas.microsoft.com/office/drawing/2014/chart" uri="{C3380CC4-5D6E-409C-BE32-E72D297353CC}">
                  <c16:uniqueId val="{00000007-984F-AD43-927D-64AE1964A024}"/>
                </c:ext>
              </c:extLst>
            </c:dLbl>
            <c:spPr>
              <a:noFill/>
              <a:ln>
                <a:noFill/>
              </a:ln>
              <a:effectLst/>
            </c:sp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C$23:$C$26</c:f>
              <c:strCache>
                <c:ptCount val="4"/>
                <c:pt idx="0">
                  <c:v>Empowering Adolescent Girls through Comprehensive Sexuality Education </c:v>
                </c:pt>
                <c:pt idx="1">
                  <c:v>Strengthened national capacity in delivering high-quality integrated family planning and comprehensive maternal health services</c:v>
                </c:pt>
                <c:pt idx="2">
                  <c:v>E-Health (Digital platforms) </c:v>
                </c:pt>
                <c:pt idx="3">
                  <c:v>Safety Net Program</c:v>
                </c:pt>
              </c:strCache>
            </c:strRef>
          </c:cat>
          <c:val>
            <c:numRef>
              <c:f>Sheet1!$D$23:$D$26</c:f>
              <c:numCache>
                <c:formatCode>General</c:formatCode>
                <c:ptCount val="4"/>
                <c:pt idx="0">
                  <c:v>13818191</c:v>
                </c:pt>
                <c:pt idx="1">
                  <c:v>28861287</c:v>
                </c:pt>
                <c:pt idx="2">
                  <c:v>627050</c:v>
                </c:pt>
                <c:pt idx="3">
                  <c:v>2802230</c:v>
                </c:pt>
              </c:numCache>
            </c:numRef>
          </c:val>
          <c:extLst>
            <c:ext xmlns:c16="http://schemas.microsoft.com/office/drawing/2014/chart" uri="{C3380CC4-5D6E-409C-BE32-E72D297353CC}">
              <c16:uniqueId val="{00000008-984F-AD43-927D-64AE1964A024}"/>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G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Commodities &amp; Supplies</c:v>
                </c:pt>
              </c:strCache>
            </c:strRef>
          </c:tx>
          <c:spPr>
            <a:solidFill>
              <a:schemeClr val="accent1"/>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B$2:$B$8</c:f>
              <c:numCache>
                <c:formatCode>#,##0</c:formatCode>
                <c:ptCount val="7"/>
                <c:pt idx="0">
                  <c:v>504396</c:v>
                </c:pt>
                <c:pt idx="1">
                  <c:v>124615</c:v>
                </c:pt>
                <c:pt idx="3">
                  <c:v>1816784</c:v>
                </c:pt>
                <c:pt idx="4">
                  <c:v>2002049</c:v>
                </c:pt>
                <c:pt idx="5">
                  <c:v>1889644</c:v>
                </c:pt>
                <c:pt idx="6">
                  <c:v>2000000</c:v>
                </c:pt>
              </c:numCache>
            </c:numRef>
          </c:val>
          <c:extLst>
            <c:ext xmlns:c16="http://schemas.microsoft.com/office/drawing/2014/chart" uri="{C3380CC4-5D6E-409C-BE32-E72D297353CC}">
              <c16:uniqueId val="{00000000-26D9-B748-AD71-E54C7E349E23}"/>
            </c:ext>
          </c:extLst>
        </c:ser>
        <c:ser>
          <c:idx val="1"/>
          <c:order val="1"/>
          <c:tx>
            <c:strRef>
              <c:f>Sheet1!$C$1</c:f>
              <c:strCache>
                <c:ptCount val="1"/>
                <c:pt idx="0">
                  <c:v>Conference</c:v>
                </c:pt>
              </c:strCache>
            </c:strRef>
          </c:tx>
          <c:spPr>
            <a:solidFill>
              <a:schemeClr val="accent2"/>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C$2:$C$8</c:f>
              <c:numCache>
                <c:formatCode>General</c:formatCode>
                <c:ptCount val="7"/>
                <c:pt idx="4" formatCode="#,##0">
                  <c:v>30000</c:v>
                </c:pt>
                <c:pt idx="5" formatCode="#,##0">
                  <c:v>8100</c:v>
                </c:pt>
              </c:numCache>
            </c:numRef>
          </c:val>
          <c:extLst>
            <c:ext xmlns:c16="http://schemas.microsoft.com/office/drawing/2014/chart" uri="{C3380CC4-5D6E-409C-BE32-E72D297353CC}">
              <c16:uniqueId val="{00000001-26D9-B748-AD71-E54C7E349E23}"/>
            </c:ext>
          </c:extLst>
        </c:ser>
        <c:ser>
          <c:idx val="2"/>
          <c:order val="2"/>
          <c:tx>
            <c:strRef>
              <c:f>Sheet1!$D$1</c:f>
              <c:strCache>
                <c:ptCount val="1"/>
                <c:pt idx="0">
                  <c:v>Outreach &amp; Communication</c:v>
                </c:pt>
              </c:strCache>
            </c:strRef>
          </c:tx>
          <c:spPr>
            <a:solidFill>
              <a:schemeClr val="accent3"/>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D$2:$D$8</c:f>
              <c:numCache>
                <c:formatCode>#,##0</c:formatCode>
                <c:ptCount val="7"/>
                <c:pt idx="0">
                  <c:v>2020695</c:v>
                </c:pt>
                <c:pt idx="1">
                  <c:v>344019</c:v>
                </c:pt>
                <c:pt idx="2">
                  <c:v>2533</c:v>
                </c:pt>
                <c:pt idx="3">
                  <c:v>204858</c:v>
                </c:pt>
                <c:pt idx="4">
                  <c:v>359719</c:v>
                </c:pt>
                <c:pt idx="5">
                  <c:v>436414</c:v>
                </c:pt>
              </c:numCache>
            </c:numRef>
          </c:val>
          <c:extLst>
            <c:ext xmlns:c16="http://schemas.microsoft.com/office/drawing/2014/chart" uri="{C3380CC4-5D6E-409C-BE32-E72D297353CC}">
              <c16:uniqueId val="{00000002-26D9-B748-AD71-E54C7E349E23}"/>
            </c:ext>
          </c:extLst>
        </c:ser>
        <c:ser>
          <c:idx val="3"/>
          <c:order val="3"/>
          <c:tx>
            <c:strRef>
              <c:f>Sheet1!$E$1</c:f>
              <c:strCache>
                <c:ptCount val="1"/>
                <c:pt idx="0">
                  <c:v>Travel</c:v>
                </c:pt>
              </c:strCache>
            </c:strRef>
          </c:tx>
          <c:spPr>
            <a:solidFill>
              <a:schemeClr val="accent4"/>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E$2:$E$8</c:f>
              <c:numCache>
                <c:formatCode>#,##0</c:formatCode>
                <c:ptCount val="7"/>
                <c:pt idx="0">
                  <c:v>1712277</c:v>
                </c:pt>
                <c:pt idx="1">
                  <c:v>863675</c:v>
                </c:pt>
                <c:pt idx="2">
                  <c:v>1319</c:v>
                </c:pt>
                <c:pt idx="3">
                  <c:v>387255</c:v>
                </c:pt>
                <c:pt idx="4">
                  <c:v>703672</c:v>
                </c:pt>
                <c:pt idx="5">
                  <c:v>208407</c:v>
                </c:pt>
              </c:numCache>
            </c:numRef>
          </c:val>
          <c:extLst>
            <c:ext xmlns:c16="http://schemas.microsoft.com/office/drawing/2014/chart" uri="{C3380CC4-5D6E-409C-BE32-E72D297353CC}">
              <c16:uniqueId val="{00000003-26D9-B748-AD71-E54C7E349E23}"/>
            </c:ext>
          </c:extLst>
        </c:ser>
        <c:ser>
          <c:idx val="4"/>
          <c:order val="4"/>
          <c:tx>
            <c:strRef>
              <c:f>Sheet1!$F$1</c:f>
              <c:strCache>
                <c:ptCount val="1"/>
                <c:pt idx="0">
                  <c:v>Salary Cost related to activity</c:v>
                </c:pt>
              </c:strCache>
            </c:strRef>
          </c:tx>
          <c:spPr>
            <a:solidFill>
              <a:schemeClr val="accent5"/>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F$2:$F$8</c:f>
              <c:numCache>
                <c:formatCode>#,##0</c:formatCode>
                <c:ptCount val="7"/>
                <c:pt idx="0">
                  <c:v>2438101</c:v>
                </c:pt>
                <c:pt idx="1">
                  <c:v>37144</c:v>
                </c:pt>
                <c:pt idx="2">
                  <c:v>198988</c:v>
                </c:pt>
                <c:pt idx="3">
                  <c:v>471900</c:v>
                </c:pt>
                <c:pt idx="4">
                  <c:v>320234</c:v>
                </c:pt>
                <c:pt idx="5">
                  <c:v>25981</c:v>
                </c:pt>
              </c:numCache>
            </c:numRef>
          </c:val>
          <c:extLst>
            <c:ext xmlns:c16="http://schemas.microsoft.com/office/drawing/2014/chart" uri="{C3380CC4-5D6E-409C-BE32-E72D297353CC}">
              <c16:uniqueId val="{00000004-26D9-B748-AD71-E54C7E349E23}"/>
            </c:ext>
          </c:extLst>
        </c:ser>
        <c:ser>
          <c:idx val="5"/>
          <c:order val="5"/>
          <c:tx>
            <c:strRef>
              <c:f>Sheet1!$G$1</c:f>
              <c:strCache>
                <c:ptCount val="1"/>
                <c:pt idx="0">
                  <c:v>Training &amp; Capacity Building</c:v>
                </c:pt>
              </c:strCache>
            </c:strRef>
          </c:tx>
          <c:spPr>
            <a:solidFill>
              <a:schemeClr val="accent6"/>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G$2:$G$8</c:f>
              <c:numCache>
                <c:formatCode>#,##0</c:formatCode>
                <c:ptCount val="7"/>
                <c:pt idx="0">
                  <c:v>69191</c:v>
                </c:pt>
                <c:pt idx="1">
                  <c:v>71704</c:v>
                </c:pt>
                <c:pt idx="3">
                  <c:v>125516</c:v>
                </c:pt>
                <c:pt idx="4">
                  <c:v>138885</c:v>
                </c:pt>
                <c:pt idx="5">
                  <c:v>1612917</c:v>
                </c:pt>
              </c:numCache>
            </c:numRef>
          </c:val>
          <c:extLst>
            <c:ext xmlns:c16="http://schemas.microsoft.com/office/drawing/2014/chart" uri="{C3380CC4-5D6E-409C-BE32-E72D297353CC}">
              <c16:uniqueId val="{00000005-26D9-B748-AD71-E54C7E349E23}"/>
            </c:ext>
          </c:extLst>
        </c:ser>
        <c:ser>
          <c:idx val="6"/>
          <c:order val="6"/>
          <c:tx>
            <c:strRef>
              <c:f>Sheet1!$H$1</c:f>
              <c:strCache>
                <c:ptCount val="1"/>
                <c:pt idx="0">
                  <c:v>Administrative</c:v>
                </c:pt>
              </c:strCache>
            </c:strRef>
          </c:tx>
          <c:spPr>
            <a:solidFill>
              <a:schemeClr val="accent1">
                <a:lumMod val="60000"/>
              </a:schemeClr>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H$2:$H$8</c:f>
              <c:numCache>
                <c:formatCode>#,##0</c:formatCode>
                <c:ptCount val="7"/>
                <c:pt idx="0">
                  <c:v>1011373</c:v>
                </c:pt>
                <c:pt idx="1">
                  <c:v>108624</c:v>
                </c:pt>
                <c:pt idx="2" formatCode="General">
                  <c:v>64</c:v>
                </c:pt>
                <c:pt idx="3">
                  <c:v>246895</c:v>
                </c:pt>
                <c:pt idx="4">
                  <c:v>327564</c:v>
                </c:pt>
                <c:pt idx="5">
                  <c:v>9652</c:v>
                </c:pt>
              </c:numCache>
            </c:numRef>
          </c:val>
          <c:extLst>
            <c:ext xmlns:c16="http://schemas.microsoft.com/office/drawing/2014/chart" uri="{C3380CC4-5D6E-409C-BE32-E72D297353CC}">
              <c16:uniqueId val="{00000006-26D9-B748-AD71-E54C7E349E23}"/>
            </c:ext>
          </c:extLst>
        </c:ser>
        <c:ser>
          <c:idx val="7"/>
          <c:order val="7"/>
          <c:tx>
            <c:strRef>
              <c:f>Sheet1!$I$1</c:f>
              <c:strCache>
                <c:ptCount val="1"/>
                <c:pt idx="0">
                  <c:v>Miscellaneous</c:v>
                </c:pt>
              </c:strCache>
            </c:strRef>
          </c:tx>
          <c:spPr>
            <a:solidFill>
              <a:schemeClr val="accent2">
                <a:lumMod val="60000"/>
              </a:schemeClr>
            </a:solidFill>
            <a:ln>
              <a:noFill/>
            </a:ln>
            <a:effectLst/>
          </c:spPr>
          <c:invertIfNegative val="0"/>
          <c:cat>
            <c:numRef>
              <c:f>Sheet1!$A$2:$A$8</c:f>
              <c:numCache>
                <c:formatCode>General</c:formatCode>
                <c:ptCount val="7"/>
                <c:pt idx="0">
                  <c:v>2015</c:v>
                </c:pt>
                <c:pt idx="1">
                  <c:v>2016</c:v>
                </c:pt>
                <c:pt idx="2">
                  <c:v>2017</c:v>
                </c:pt>
                <c:pt idx="3">
                  <c:v>2018</c:v>
                </c:pt>
                <c:pt idx="4">
                  <c:v>2019</c:v>
                </c:pt>
                <c:pt idx="5">
                  <c:v>2020</c:v>
                </c:pt>
                <c:pt idx="6">
                  <c:v>2021</c:v>
                </c:pt>
              </c:numCache>
            </c:numRef>
          </c:cat>
          <c:val>
            <c:numRef>
              <c:f>Sheet1!$I$2:$I$8</c:f>
              <c:numCache>
                <c:formatCode>#,##0</c:formatCode>
                <c:ptCount val="7"/>
                <c:pt idx="0">
                  <c:v>577922</c:v>
                </c:pt>
                <c:pt idx="1">
                  <c:v>416781</c:v>
                </c:pt>
                <c:pt idx="2" formatCode="General">
                  <c:v>77</c:v>
                </c:pt>
                <c:pt idx="3">
                  <c:v>521207</c:v>
                </c:pt>
                <c:pt idx="4">
                  <c:v>594307</c:v>
                </c:pt>
                <c:pt idx="5">
                  <c:v>262878</c:v>
                </c:pt>
              </c:numCache>
            </c:numRef>
          </c:val>
          <c:extLst>
            <c:ext xmlns:c16="http://schemas.microsoft.com/office/drawing/2014/chart" uri="{C3380CC4-5D6E-409C-BE32-E72D297353CC}">
              <c16:uniqueId val="{00000007-26D9-B748-AD71-E54C7E349E23}"/>
            </c:ext>
          </c:extLst>
        </c:ser>
        <c:dLbls>
          <c:showLegendKey val="0"/>
          <c:showVal val="0"/>
          <c:showCatName val="0"/>
          <c:showSerName val="0"/>
          <c:showPercent val="0"/>
          <c:showBubbleSize val="0"/>
        </c:dLbls>
        <c:gapWidth val="219"/>
        <c:overlap val="-27"/>
        <c:axId val="312031104"/>
        <c:axId val="312032352"/>
      </c:barChart>
      <c:catAx>
        <c:axId val="312031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GH"/>
          </a:p>
        </c:txPr>
        <c:crossAx val="312032352"/>
        <c:crosses val="autoZero"/>
        <c:auto val="1"/>
        <c:lblAlgn val="ctr"/>
        <c:lblOffset val="100"/>
        <c:noMultiLvlLbl val="0"/>
      </c:catAx>
      <c:valAx>
        <c:axId val="3120323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GH"/>
          </a:p>
        </c:txPr>
        <c:crossAx val="312031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GH"/>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GH"/>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Activity 3_Totals'!$E$5</c:f>
              <c:strCache>
                <c:ptCount val="1"/>
                <c:pt idx="0">
                  <c:v>Commodities &amp; Supplies</c:v>
                </c:pt>
              </c:strCache>
            </c:strRef>
          </c:tx>
          <c:spPr>
            <a:solidFill>
              <a:schemeClr val="accent5">
                <a:lumMod val="60000"/>
                <a:lumOff val="40000"/>
              </a:schemeClr>
            </a:solidFill>
            <a:ln w="25400" cap="flat" cmpd="sng" algn="ctr">
              <a:solidFill>
                <a:schemeClr val="accent1"/>
              </a:solidFill>
              <a:prstDash val="solid"/>
            </a:ln>
            <a:effectLst/>
          </c:spPr>
          <c:invertIfNegative val="0"/>
          <c:cat>
            <c:numRef>
              <c:f>'Activity 3_Totals'!$D$6:$D$12</c:f>
              <c:numCache>
                <c:formatCode>General</c:formatCode>
                <c:ptCount val="7"/>
                <c:pt idx="0">
                  <c:v>2015</c:v>
                </c:pt>
                <c:pt idx="1">
                  <c:v>2016</c:v>
                </c:pt>
                <c:pt idx="2">
                  <c:v>2017</c:v>
                </c:pt>
                <c:pt idx="3">
                  <c:v>2018</c:v>
                </c:pt>
                <c:pt idx="4">
                  <c:v>2019</c:v>
                </c:pt>
                <c:pt idx="5">
                  <c:v>2020</c:v>
                </c:pt>
                <c:pt idx="6">
                  <c:v>2021</c:v>
                </c:pt>
              </c:numCache>
            </c:numRef>
          </c:cat>
          <c:val>
            <c:numRef>
              <c:f>'Activity 3_Totals'!$E$6:$E$12</c:f>
              <c:numCache>
                <c:formatCode>#,##0</c:formatCode>
                <c:ptCount val="7"/>
                <c:pt idx="0">
                  <c:v>504396.14632</c:v>
                </c:pt>
                <c:pt idx="1">
                  <c:v>124615.3121</c:v>
                </c:pt>
                <c:pt idx="3">
                  <c:v>1816784.4733899999</c:v>
                </c:pt>
                <c:pt idx="4">
                  <c:v>2002049</c:v>
                </c:pt>
                <c:pt idx="5">
                  <c:v>1889644</c:v>
                </c:pt>
                <c:pt idx="6">
                  <c:v>2000000</c:v>
                </c:pt>
              </c:numCache>
            </c:numRef>
          </c:val>
          <c:extLst>
            <c:ext xmlns:c16="http://schemas.microsoft.com/office/drawing/2014/chart" uri="{C3380CC4-5D6E-409C-BE32-E72D297353CC}">
              <c16:uniqueId val="{00000000-0850-B54D-8717-A0D3F03C8884}"/>
            </c:ext>
          </c:extLst>
        </c:ser>
        <c:dLbls>
          <c:showLegendKey val="0"/>
          <c:showVal val="0"/>
          <c:showCatName val="0"/>
          <c:showSerName val="0"/>
          <c:showPercent val="0"/>
          <c:showBubbleSize val="0"/>
        </c:dLbls>
        <c:gapWidth val="219"/>
        <c:overlap val="-27"/>
        <c:axId val="1285943664"/>
        <c:axId val="1286248832"/>
      </c:barChart>
      <c:catAx>
        <c:axId val="1285943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GH"/>
          </a:p>
        </c:txPr>
        <c:crossAx val="1286248832"/>
        <c:crosses val="autoZero"/>
        <c:auto val="1"/>
        <c:lblAlgn val="ctr"/>
        <c:lblOffset val="100"/>
        <c:noMultiLvlLbl val="0"/>
      </c:catAx>
      <c:valAx>
        <c:axId val="12862488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GH"/>
          </a:p>
        </c:txPr>
        <c:crossAx val="12859436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GH"/>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cs:styleClr val="auto"/>
    </cs:fontRef>
    <cs:defRPr sz="100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0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4" Type="http://schemas.openxmlformats.org/officeDocument/2006/relationships/image" Target="../media/image13.svg"/></Relationships>
</file>

<file path=ppt/diagrams/_rels/data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svg"/><Relationship Id="rId1" Type="http://schemas.openxmlformats.org/officeDocument/2006/relationships/image" Target="../media/image10.png"/><Relationship Id="rId4" Type="http://schemas.openxmlformats.org/officeDocument/2006/relationships/image" Target="../media/image13.svg"/></Relationships>
</file>

<file path=ppt/diagrams/_rels/drawing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accent4_2">
  <dgm:title val=""/>
  <dgm:desc val=""/>
  <dgm:catLst>
    <dgm:cat type="accent4" pri="14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a:alpha val="0"/>
      </a:schemeClr>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E998FD-E0F0-4E72-8629-4A0FB8CAB11F}"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1FE0DC7F-1567-44BE-91F4-24472E3957EE}">
      <dgm:prSet phldrT="[Text]"/>
      <dgm:spPr/>
      <dgm:t>
        <a:bodyPr/>
        <a:lstStyle/>
        <a:p>
          <a:r>
            <a:rPr lang="en-US" dirty="0"/>
            <a:t>1</a:t>
          </a:r>
        </a:p>
      </dgm:t>
    </dgm:pt>
    <dgm:pt modelId="{3EE73A42-7C95-49D3-91B4-740787FA376E}" type="parTrans" cxnId="{68EAB9A7-7C46-424E-BBAE-57C8666071D2}">
      <dgm:prSet/>
      <dgm:spPr/>
      <dgm:t>
        <a:bodyPr/>
        <a:lstStyle/>
        <a:p>
          <a:endParaRPr lang="en-US"/>
        </a:p>
      </dgm:t>
    </dgm:pt>
    <dgm:pt modelId="{11F29871-5B28-454F-AFF2-20072BF39D50}" type="sibTrans" cxnId="{68EAB9A7-7C46-424E-BBAE-57C8666071D2}">
      <dgm:prSet/>
      <dgm:spPr/>
      <dgm:t>
        <a:bodyPr/>
        <a:lstStyle/>
        <a:p>
          <a:endParaRPr lang="en-US"/>
        </a:p>
      </dgm:t>
    </dgm:pt>
    <dgm:pt modelId="{D1C7CE00-59C5-462D-9256-60B860E7FF68}">
      <dgm:prSet phldrT="[Text]" custT="1"/>
      <dgm:spPr/>
      <dgm:t>
        <a:bodyPr/>
        <a:lstStyle/>
        <a:p>
          <a:r>
            <a:rPr lang="en-CA" sz="1600" b="0" dirty="0">
              <a:latin typeface="MS Reference Sans Serif" panose="020B0604030504040204" pitchFamily="34" charset="0"/>
              <a:ea typeface="Times New Roman" panose="02020603050405020304" pitchFamily="18" charset="0"/>
              <a:cs typeface="Courier New" panose="02070309020205020404" pitchFamily="49" charset="0"/>
            </a:rPr>
            <a:t>Target the overall country response </a:t>
          </a:r>
          <a:endParaRPr lang="en-US" sz="1600" b="0" dirty="0"/>
        </a:p>
      </dgm:t>
    </dgm:pt>
    <dgm:pt modelId="{88F22AE3-9D7B-4289-8C67-C764F3BA04CB}" type="parTrans" cxnId="{76B14A08-A3EA-4C77-AB4E-AA0586BE47E5}">
      <dgm:prSet/>
      <dgm:spPr/>
      <dgm:t>
        <a:bodyPr/>
        <a:lstStyle/>
        <a:p>
          <a:endParaRPr lang="en-US"/>
        </a:p>
      </dgm:t>
    </dgm:pt>
    <dgm:pt modelId="{14315DC4-EF33-4190-ABF6-AE84E33F1C2A}" type="sibTrans" cxnId="{76B14A08-A3EA-4C77-AB4E-AA0586BE47E5}">
      <dgm:prSet/>
      <dgm:spPr/>
      <dgm:t>
        <a:bodyPr/>
        <a:lstStyle/>
        <a:p>
          <a:endParaRPr lang="en-US"/>
        </a:p>
      </dgm:t>
    </dgm:pt>
    <dgm:pt modelId="{CBA319D9-8CA0-4A01-B70F-31EB15244AD0}">
      <dgm:prSet phldrT="[Text]" custT="1"/>
      <dgm:spPr/>
      <dgm:t>
        <a:bodyPr/>
        <a:lstStyle/>
        <a:p>
          <a:r>
            <a:rPr lang="en-CA" sz="1600" b="0" dirty="0">
              <a:latin typeface="MS Reference Sans Serif" panose="020B0604030504040204" pitchFamily="34" charset="0"/>
              <a:ea typeface="Times New Roman" panose="02020603050405020304" pitchFamily="18" charset="0"/>
              <a:cs typeface="Times New Roman" panose="02020603050405020304" pitchFamily="18" charset="0"/>
            </a:rPr>
            <a:t>Clear a</a:t>
          </a:r>
          <a:r>
            <a:rPr lang="en-CA" sz="1600" b="0" dirty="0">
              <a:latin typeface="MS Reference Sans Serif" panose="020B0604030504040204" pitchFamily="34" charset="0"/>
              <a:ea typeface="Times New Roman" panose="02020603050405020304" pitchFamily="18" charset="0"/>
              <a:cs typeface="Courier New" panose="02070309020205020404" pitchFamily="49" charset="0"/>
            </a:rPr>
            <a:t>lignment of interventions on the needs and priorities of adolescents</a:t>
          </a:r>
          <a:endParaRPr lang="en-US" sz="1600" b="0" dirty="0"/>
        </a:p>
      </dgm:t>
    </dgm:pt>
    <dgm:pt modelId="{69BB4504-444D-474D-921D-F005EBD764B3}" type="parTrans" cxnId="{71185AB6-2F70-4D06-B0F8-6C6831463AE9}">
      <dgm:prSet/>
      <dgm:spPr/>
      <dgm:t>
        <a:bodyPr/>
        <a:lstStyle/>
        <a:p>
          <a:endParaRPr lang="en-US"/>
        </a:p>
      </dgm:t>
    </dgm:pt>
    <dgm:pt modelId="{EB86078B-CF1D-4AC2-82B9-8119B6ABCDB0}" type="sibTrans" cxnId="{71185AB6-2F70-4D06-B0F8-6C6831463AE9}">
      <dgm:prSet/>
      <dgm:spPr/>
      <dgm:t>
        <a:bodyPr/>
        <a:lstStyle/>
        <a:p>
          <a:endParaRPr lang="en-US"/>
        </a:p>
      </dgm:t>
    </dgm:pt>
    <dgm:pt modelId="{BBC7CE53-D2BC-48FC-9B91-39DA6980D235}">
      <dgm:prSet phldrT="[Text]"/>
      <dgm:spPr/>
      <dgm:t>
        <a:bodyPr/>
        <a:lstStyle/>
        <a:p>
          <a:r>
            <a:rPr lang="en-US" dirty="0"/>
            <a:t>2</a:t>
          </a:r>
        </a:p>
      </dgm:t>
    </dgm:pt>
    <dgm:pt modelId="{98F780C6-2ABA-470A-A449-45326F98FD18}" type="parTrans" cxnId="{C73BB0AA-6043-4A9B-9252-F1B65A36F010}">
      <dgm:prSet/>
      <dgm:spPr/>
      <dgm:t>
        <a:bodyPr/>
        <a:lstStyle/>
        <a:p>
          <a:endParaRPr lang="en-US"/>
        </a:p>
      </dgm:t>
    </dgm:pt>
    <dgm:pt modelId="{098C8517-75C0-45C7-B74B-67B0DF1B1923}" type="sibTrans" cxnId="{C73BB0AA-6043-4A9B-9252-F1B65A36F010}">
      <dgm:prSet/>
      <dgm:spPr/>
      <dgm:t>
        <a:bodyPr/>
        <a:lstStyle/>
        <a:p>
          <a:endParaRPr lang="en-US"/>
        </a:p>
      </dgm:t>
    </dgm:pt>
    <dgm:pt modelId="{3A9F616A-97CE-4E60-BEF9-60C55A81F996}">
      <dgm:prSet phldrT="[Text]" custT="1"/>
      <dgm:spPr/>
      <dgm:t>
        <a:bodyPr/>
        <a:lstStyle/>
        <a:p>
          <a:r>
            <a:rPr lang="en-CA" sz="1600" b="0" dirty="0">
              <a:latin typeface="MS Reference Sans Serif" panose="020B0604030504040204" pitchFamily="34" charset="0"/>
              <a:ea typeface="Times New Roman" panose="02020603050405020304" pitchFamily="18" charset="0"/>
              <a:cs typeface="Courier New" panose="02070309020205020404" pitchFamily="49" charset="0"/>
            </a:rPr>
            <a:t>Coordinate with other  stakeholders and embrace a multidisciplinary approach</a:t>
          </a:r>
          <a:endParaRPr lang="en-US" sz="1600" b="0" dirty="0"/>
        </a:p>
      </dgm:t>
    </dgm:pt>
    <dgm:pt modelId="{510187EE-DEF3-49BA-9EC0-4921A3CB376E}" type="parTrans" cxnId="{6817E412-8727-45B6-B333-A56C3EA02FAB}">
      <dgm:prSet/>
      <dgm:spPr/>
      <dgm:t>
        <a:bodyPr/>
        <a:lstStyle/>
        <a:p>
          <a:endParaRPr lang="en-US"/>
        </a:p>
      </dgm:t>
    </dgm:pt>
    <dgm:pt modelId="{E0948FA2-A79D-4CD3-BB53-295F933C7980}" type="sibTrans" cxnId="{6817E412-8727-45B6-B333-A56C3EA02FAB}">
      <dgm:prSet/>
      <dgm:spPr/>
      <dgm:t>
        <a:bodyPr/>
        <a:lstStyle/>
        <a:p>
          <a:endParaRPr lang="en-US"/>
        </a:p>
      </dgm:t>
    </dgm:pt>
    <dgm:pt modelId="{63684CC5-6549-4AA6-9DD2-AF54DF723912}">
      <dgm:prSet phldrT="[Text]"/>
      <dgm:spPr/>
      <dgm:t>
        <a:bodyPr/>
        <a:lstStyle/>
        <a:p>
          <a:r>
            <a:rPr lang="en-US" dirty="0"/>
            <a:t>3</a:t>
          </a:r>
        </a:p>
      </dgm:t>
    </dgm:pt>
    <dgm:pt modelId="{99E482F4-0809-438F-8E25-C245391B33F0}" type="parTrans" cxnId="{793A9FF6-88D0-4F9F-B96F-70912BAF6CB5}">
      <dgm:prSet/>
      <dgm:spPr/>
      <dgm:t>
        <a:bodyPr/>
        <a:lstStyle/>
        <a:p>
          <a:endParaRPr lang="en-US"/>
        </a:p>
      </dgm:t>
    </dgm:pt>
    <dgm:pt modelId="{096FD977-2160-4795-AA83-A3F9EFC20A51}" type="sibTrans" cxnId="{793A9FF6-88D0-4F9F-B96F-70912BAF6CB5}">
      <dgm:prSet/>
      <dgm:spPr/>
      <dgm:t>
        <a:bodyPr/>
        <a:lstStyle/>
        <a:p>
          <a:endParaRPr lang="en-US"/>
        </a:p>
      </dgm:t>
    </dgm:pt>
    <dgm:pt modelId="{0B9A902D-E5FE-45E3-9045-6F8576B6E0D9}">
      <dgm:prSet phldrT="[Text]" custT="1"/>
      <dgm:spPr/>
      <dgm:t>
        <a:bodyPr/>
        <a:lstStyle/>
        <a:p>
          <a:r>
            <a:rPr lang="en-CA" sz="1600" dirty="0">
              <a:latin typeface="MS Reference Sans Serif" panose="020B0604030504040204" pitchFamily="34" charset="0"/>
              <a:ea typeface="Times New Roman" panose="02020603050405020304" pitchFamily="18" charset="0"/>
              <a:cs typeface="Courier New" panose="02070309020205020404" pitchFamily="49" charset="0"/>
            </a:rPr>
            <a:t>Sustainability of the priority interventions must be clearly stated including funding mechanism to ensure continuity of program or intervention</a:t>
          </a:r>
          <a:endParaRPr lang="en-US" sz="1600" dirty="0"/>
        </a:p>
      </dgm:t>
    </dgm:pt>
    <dgm:pt modelId="{AF9728F5-A2FA-4BE0-966A-7313C4BA30F9}" type="parTrans" cxnId="{EE4C1C18-C171-4299-A01E-F9E8BE1B44C3}">
      <dgm:prSet/>
      <dgm:spPr/>
      <dgm:t>
        <a:bodyPr/>
        <a:lstStyle/>
        <a:p>
          <a:endParaRPr lang="en-US"/>
        </a:p>
      </dgm:t>
    </dgm:pt>
    <dgm:pt modelId="{C04C2F5B-4050-43BE-8F40-45A181C41029}" type="sibTrans" cxnId="{EE4C1C18-C171-4299-A01E-F9E8BE1B44C3}">
      <dgm:prSet/>
      <dgm:spPr/>
      <dgm:t>
        <a:bodyPr/>
        <a:lstStyle/>
        <a:p>
          <a:endParaRPr lang="en-US"/>
        </a:p>
      </dgm:t>
    </dgm:pt>
    <dgm:pt modelId="{CB24C34F-E4B9-4CC4-8FBB-2F00097027FB}">
      <dgm:prSet/>
      <dgm:spPr/>
      <dgm:t>
        <a:bodyPr/>
        <a:lstStyle/>
        <a:p>
          <a:r>
            <a:rPr lang="en-US" dirty="0"/>
            <a:t>4</a:t>
          </a:r>
        </a:p>
      </dgm:t>
    </dgm:pt>
    <dgm:pt modelId="{B4974848-0D50-405C-8AB5-213072CE7E80}" type="parTrans" cxnId="{3BE68CDE-C20F-4E4F-858B-85562DD4ED96}">
      <dgm:prSet/>
      <dgm:spPr/>
      <dgm:t>
        <a:bodyPr/>
        <a:lstStyle/>
        <a:p>
          <a:endParaRPr lang="en-US"/>
        </a:p>
      </dgm:t>
    </dgm:pt>
    <dgm:pt modelId="{ECD37662-A475-4CD5-B8A5-9C0A938A939C}" type="sibTrans" cxnId="{3BE68CDE-C20F-4E4F-858B-85562DD4ED96}">
      <dgm:prSet/>
      <dgm:spPr/>
      <dgm:t>
        <a:bodyPr/>
        <a:lstStyle/>
        <a:p>
          <a:endParaRPr lang="en-US"/>
        </a:p>
      </dgm:t>
    </dgm:pt>
    <dgm:pt modelId="{9C23A534-039A-4B3A-97FC-561C7F0C8444}">
      <dgm:prSet custT="1"/>
      <dgm:spPr/>
      <dgm:t>
        <a:bodyPr/>
        <a:lstStyle/>
        <a:p>
          <a:r>
            <a:rPr lang="en-CA" sz="1600" dirty="0">
              <a:latin typeface="MS Reference Sans Serif" panose="020B0604030504040204" pitchFamily="34" charset="0"/>
              <a:ea typeface="Times New Roman" panose="02020603050405020304" pitchFamily="18" charset="0"/>
              <a:cs typeface="Courier New" panose="02070309020205020404" pitchFamily="49" charset="0"/>
            </a:rPr>
            <a:t>Measures to provide disaggregated data on adolescents and young people to ensure proper monitoring of progress and impact evaluation </a:t>
          </a:r>
          <a:endParaRPr lang="en-US" sz="1600" dirty="0"/>
        </a:p>
      </dgm:t>
    </dgm:pt>
    <dgm:pt modelId="{179ED059-A7C2-4AD5-96A6-80B52E3437BB}" type="parTrans" cxnId="{807196D2-AF44-4E62-9A34-B465A484B107}">
      <dgm:prSet/>
      <dgm:spPr/>
      <dgm:t>
        <a:bodyPr/>
        <a:lstStyle/>
        <a:p>
          <a:endParaRPr lang="en-US"/>
        </a:p>
      </dgm:t>
    </dgm:pt>
    <dgm:pt modelId="{95DEFF67-7D6E-4387-9513-AD433A5AB845}" type="sibTrans" cxnId="{807196D2-AF44-4E62-9A34-B465A484B107}">
      <dgm:prSet/>
      <dgm:spPr/>
      <dgm:t>
        <a:bodyPr/>
        <a:lstStyle/>
        <a:p>
          <a:endParaRPr lang="en-US"/>
        </a:p>
      </dgm:t>
    </dgm:pt>
    <dgm:pt modelId="{2CB5EDF7-5879-4F4F-AE6D-D04D079E1F77}">
      <dgm:prSet phldrT="[Text]" custT="1"/>
      <dgm:spPr/>
      <dgm:t>
        <a:bodyPr/>
        <a:lstStyle/>
        <a:p>
          <a:endParaRPr lang="en-US" sz="1600" b="0" dirty="0"/>
        </a:p>
      </dgm:t>
    </dgm:pt>
    <dgm:pt modelId="{8132B81A-217E-4CB5-A860-061037FC68AF}" type="parTrans" cxnId="{E6DBB857-239B-4D1E-AD3F-834598062E51}">
      <dgm:prSet/>
      <dgm:spPr/>
      <dgm:t>
        <a:bodyPr/>
        <a:lstStyle/>
        <a:p>
          <a:endParaRPr lang="en-US"/>
        </a:p>
      </dgm:t>
    </dgm:pt>
    <dgm:pt modelId="{AD757F72-063B-4D2E-B2A6-A17E34C6722E}" type="sibTrans" cxnId="{E6DBB857-239B-4D1E-AD3F-834598062E51}">
      <dgm:prSet/>
      <dgm:spPr/>
      <dgm:t>
        <a:bodyPr/>
        <a:lstStyle/>
        <a:p>
          <a:endParaRPr lang="en-US"/>
        </a:p>
      </dgm:t>
    </dgm:pt>
    <dgm:pt modelId="{D92A4A7E-C985-4DBD-BE3E-96A120BEC48C}" type="pres">
      <dgm:prSet presAssocID="{E5E998FD-E0F0-4E72-8629-4A0FB8CAB11F}" presName="Name0" presStyleCnt="0">
        <dgm:presLayoutVars>
          <dgm:dir/>
          <dgm:animLvl val="lvl"/>
          <dgm:resizeHandles val="exact"/>
        </dgm:presLayoutVars>
      </dgm:prSet>
      <dgm:spPr/>
    </dgm:pt>
    <dgm:pt modelId="{41BE45B6-4BB6-4752-985B-53DF12DD0D41}" type="pres">
      <dgm:prSet presAssocID="{1FE0DC7F-1567-44BE-91F4-24472E3957EE}" presName="composite" presStyleCnt="0"/>
      <dgm:spPr/>
    </dgm:pt>
    <dgm:pt modelId="{519FE002-9658-4118-B136-46662DE51FB5}" type="pres">
      <dgm:prSet presAssocID="{1FE0DC7F-1567-44BE-91F4-24472E3957EE}" presName="parTx" presStyleLbl="alignNode1" presStyleIdx="0" presStyleCnt="4" custScaleX="110512">
        <dgm:presLayoutVars>
          <dgm:chMax val="0"/>
          <dgm:chPref val="0"/>
          <dgm:bulletEnabled val="1"/>
        </dgm:presLayoutVars>
      </dgm:prSet>
      <dgm:spPr/>
    </dgm:pt>
    <dgm:pt modelId="{46B2A294-8DEB-431F-A450-EACABC99463C}" type="pres">
      <dgm:prSet presAssocID="{1FE0DC7F-1567-44BE-91F4-24472E3957EE}" presName="desTx" presStyleLbl="alignAccFollowNode1" presStyleIdx="0" presStyleCnt="4" custScaleX="109252">
        <dgm:presLayoutVars>
          <dgm:bulletEnabled val="1"/>
        </dgm:presLayoutVars>
      </dgm:prSet>
      <dgm:spPr/>
    </dgm:pt>
    <dgm:pt modelId="{670440A3-AA8F-4CEE-9EC8-50B54DE6BFE6}" type="pres">
      <dgm:prSet presAssocID="{11F29871-5B28-454F-AFF2-20072BF39D50}" presName="space" presStyleCnt="0"/>
      <dgm:spPr/>
    </dgm:pt>
    <dgm:pt modelId="{480468E1-E575-4F62-8BDE-9ECFE1CC4FE9}" type="pres">
      <dgm:prSet presAssocID="{BBC7CE53-D2BC-48FC-9B91-39DA6980D235}" presName="composite" presStyleCnt="0"/>
      <dgm:spPr/>
    </dgm:pt>
    <dgm:pt modelId="{0D5F96D4-2B0B-4C2D-ABED-EDA5CED113CE}" type="pres">
      <dgm:prSet presAssocID="{BBC7CE53-D2BC-48FC-9B91-39DA6980D235}" presName="parTx" presStyleLbl="alignNode1" presStyleIdx="1" presStyleCnt="4">
        <dgm:presLayoutVars>
          <dgm:chMax val="0"/>
          <dgm:chPref val="0"/>
          <dgm:bulletEnabled val="1"/>
        </dgm:presLayoutVars>
      </dgm:prSet>
      <dgm:spPr/>
    </dgm:pt>
    <dgm:pt modelId="{54365AD5-0B54-4735-8768-2F760476BB04}" type="pres">
      <dgm:prSet presAssocID="{BBC7CE53-D2BC-48FC-9B91-39DA6980D235}" presName="desTx" presStyleLbl="alignAccFollowNode1" presStyleIdx="1" presStyleCnt="4">
        <dgm:presLayoutVars>
          <dgm:bulletEnabled val="1"/>
        </dgm:presLayoutVars>
      </dgm:prSet>
      <dgm:spPr/>
    </dgm:pt>
    <dgm:pt modelId="{BE3BFA92-913A-415E-9F24-49E3E6D18803}" type="pres">
      <dgm:prSet presAssocID="{098C8517-75C0-45C7-B74B-67B0DF1B1923}" presName="space" presStyleCnt="0"/>
      <dgm:spPr/>
    </dgm:pt>
    <dgm:pt modelId="{EA150F0C-4DC9-4A8F-882A-8C4BC4E88BAA}" type="pres">
      <dgm:prSet presAssocID="{63684CC5-6549-4AA6-9DD2-AF54DF723912}" presName="composite" presStyleCnt="0"/>
      <dgm:spPr/>
    </dgm:pt>
    <dgm:pt modelId="{9421DCFF-7251-432F-A1B7-D6E2B5B967DB}" type="pres">
      <dgm:prSet presAssocID="{63684CC5-6549-4AA6-9DD2-AF54DF723912}" presName="parTx" presStyleLbl="alignNode1" presStyleIdx="2" presStyleCnt="4">
        <dgm:presLayoutVars>
          <dgm:chMax val="0"/>
          <dgm:chPref val="0"/>
          <dgm:bulletEnabled val="1"/>
        </dgm:presLayoutVars>
      </dgm:prSet>
      <dgm:spPr/>
    </dgm:pt>
    <dgm:pt modelId="{9B8553EE-9DC1-48D0-B043-A202F042D30C}" type="pres">
      <dgm:prSet presAssocID="{63684CC5-6549-4AA6-9DD2-AF54DF723912}" presName="desTx" presStyleLbl="alignAccFollowNode1" presStyleIdx="2" presStyleCnt="4">
        <dgm:presLayoutVars>
          <dgm:bulletEnabled val="1"/>
        </dgm:presLayoutVars>
      </dgm:prSet>
      <dgm:spPr/>
    </dgm:pt>
    <dgm:pt modelId="{4FEAF558-1C32-4DDA-8E8F-9BBB5CFC9328}" type="pres">
      <dgm:prSet presAssocID="{096FD977-2160-4795-AA83-A3F9EFC20A51}" presName="space" presStyleCnt="0"/>
      <dgm:spPr/>
    </dgm:pt>
    <dgm:pt modelId="{3E948EBC-E255-4859-B7A9-C78A668475D4}" type="pres">
      <dgm:prSet presAssocID="{CB24C34F-E4B9-4CC4-8FBB-2F00097027FB}" presName="composite" presStyleCnt="0"/>
      <dgm:spPr/>
    </dgm:pt>
    <dgm:pt modelId="{884E727B-F42D-4061-8A7D-7F40AE572689}" type="pres">
      <dgm:prSet presAssocID="{CB24C34F-E4B9-4CC4-8FBB-2F00097027FB}" presName="parTx" presStyleLbl="alignNode1" presStyleIdx="3" presStyleCnt="4">
        <dgm:presLayoutVars>
          <dgm:chMax val="0"/>
          <dgm:chPref val="0"/>
          <dgm:bulletEnabled val="1"/>
        </dgm:presLayoutVars>
      </dgm:prSet>
      <dgm:spPr/>
    </dgm:pt>
    <dgm:pt modelId="{A8A3D28F-835D-42C2-BCDB-F797C483A08B}" type="pres">
      <dgm:prSet presAssocID="{CB24C34F-E4B9-4CC4-8FBB-2F00097027FB}" presName="desTx" presStyleLbl="alignAccFollowNode1" presStyleIdx="3" presStyleCnt="4">
        <dgm:presLayoutVars>
          <dgm:bulletEnabled val="1"/>
        </dgm:presLayoutVars>
      </dgm:prSet>
      <dgm:spPr/>
    </dgm:pt>
  </dgm:ptLst>
  <dgm:cxnLst>
    <dgm:cxn modelId="{76B14A08-A3EA-4C77-AB4E-AA0586BE47E5}" srcId="{1FE0DC7F-1567-44BE-91F4-24472E3957EE}" destId="{D1C7CE00-59C5-462D-9256-60B860E7FF68}" srcOrd="0" destOrd="0" parTransId="{88F22AE3-9D7B-4289-8C67-C764F3BA04CB}" sibTransId="{14315DC4-EF33-4190-ABF6-AE84E33F1C2A}"/>
    <dgm:cxn modelId="{6817E412-8727-45B6-B333-A56C3EA02FAB}" srcId="{BBC7CE53-D2BC-48FC-9B91-39DA6980D235}" destId="{3A9F616A-97CE-4E60-BEF9-60C55A81F996}" srcOrd="0" destOrd="0" parTransId="{510187EE-DEF3-49BA-9EC0-4921A3CB376E}" sibTransId="{E0948FA2-A79D-4CD3-BB53-295F933C7980}"/>
    <dgm:cxn modelId="{EE4C1C18-C171-4299-A01E-F9E8BE1B44C3}" srcId="{63684CC5-6549-4AA6-9DD2-AF54DF723912}" destId="{0B9A902D-E5FE-45E3-9045-6F8576B6E0D9}" srcOrd="0" destOrd="0" parTransId="{AF9728F5-A2FA-4BE0-966A-7313C4BA30F9}" sibTransId="{C04C2F5B-4050-43BE-8F40-45A181C41029}"/>
    <dgm:cxn modelId="{50E0F61D-CE66-4764-AEDE-534118B7B382}" type="presOf" srcId="{63684CC5-6549-4AA6-9DD2-AF54DF723912}" destId="{9421DCFF-7251-432F-A1B7-D6E2B5B967DB}" srcOrd="0" destOrd="0" presId="urn:microsoft.com/office/officeart/2005/8/layout/hList1"/>
    <dgm:cxn modelId="{9179363A-C440-4125-B378-9ECDF1894D94}" type="presOf" srcId="{CB24C34F-E4B9-4CC4-8FBB-2F00097027FB}" destId="{884E727B-F42D-4061-8A7D-7F40AE572689}" srcOrd="0" destOrd="0" presId="urn:microsoft.com/office/officeart/2005/8/layout/hList1"/>
    <dgm:cxn modelId="{E6DBB857-239B-4D1E-AD3F-834598062E51}" srcId="{1FE0DC7F-1567-44BE-91F4-24472E3957EE}" destId="{2CB5EDF7-5879-4F4F-AE6D-D04D079E1F77}" srcOrd="1" destOrd="0" parTransId="{8132B81A-217E-4CB5-A860-061037FC68AF}" sibTransId="{AD757F72-063B-4D2E-B2A6-A17E34C6722E}"/>
    <dgm:cxn modelId="{DC2A7C58-E498-45C0-B7AE-26AF2F550454}" type="presOf" srcId="{3A9F616A-97CE-4E60-BEF9-60C55A81F996}" destId="{54365AD5-0B54-4735-8768-2F760476BB04}" srcOrd="0" destOrd="0" presId="urn:microsoft.com/office/officeart/2005/8/layout/hList1"/>
    <dgm:cxn modelId="{8A696D5F-FA5D-44CF-9536-E8602813F6EE}" type="presOf" srcId="{D1C7CE00-59C5-462D-9256-60B860E7FF68}" destId="{46B2A294-8DEB-431F-A450-EACABC99463C}" srcOrd="0" destOrd="0" presId="urn:microsoft.com/office/officeart/2005/8/layout/hList1"/>
    <dgm:cxn modelId="{3CB6476D-C348-4E0A-8469-936BE411C90A}" type="presOf" srcId="{9C23A534-039A-4B3A-97FC-561C7F0C8444}" destId="{A8A3D28F-835D-42C2-BCDB-F797C483A08B}" srcOrd="0" destOrd="0" presId="urn:microsoft.com/office/officeart/2005/8/layout/hList1"/>
    <dgm:cxn modelId="{77AB0975-FE7F-4435-8428-175AA84BCD60}" type="presOf" srcId="{2CB5EDF7-5879-4F4F-AE6D-D04D079E1F77}" destId="{46B2A294-8DEB-431F-A450-EACABC99463C}" srcOrd="0" destOrd="1" presId="urn:microsoft.com/office/officeart/2005/8/layout/hList1"/>
    <dgm:cxn modelId="{68EAB9A7-7C46-424E-BBAE-57C8666071D2}" srcId="{E5E998FD-E0F0-4E72-8629-4A0FB8CAB11F}" destId="{1FE0DC7F-1567-44BE-91F4-24472E3957EE}" srcOrd="0" destOrd="0" parTransId="{3EE73A42-7C95-49D3-91B4-740787FA376E}" sibTransId="{11F29871-5B28-454F-AFF2-20072BF39D50}"/>
    <dgm:cxn modelId="{7D7C21A9-0A5C-480B-BF75-D97A8FCB430D}" type="presOf" srcId="{CBA319D9-8CA0-4A01-B70F-31EB15244AD0}" destId="{46B2A294-8DEB-431F-A450-EACABC99463C}" srcOrd="0" destOrd="2" presId="urn:microsoft.com/office/officeart/2005/8/layout/hList1"/>
    <dgm:cxn modelId="{062892A9-C47A-4A69-8611-9E9EF2BD0219}" type="presOf" srcId="{1FE0DC7F-1567-44BE-91F4-24472E3957EE}" destId="{519FE002-9658-4118-B136-46662DE51FB5}" srcOrd="0" destOrd="0" presId="urn:microsoft.com/office/officeart/2005/8/layout/hList1"/>
    <dgm:cxn modelId="{C73BB0AA-6043-4A9B-9252-F1B65A36F010}" srcId="{E5E998FD-E0F0-4E72-8629-4A0FB8CAB11F}" destId="{BBC7CE53-D2BC-48FC-9B91-39DA6980D235}" srcOrd="1" destOrd="0" parTransId="{98F780C6-2ABA-470A-A449-45326F98FD18}" sibTransId="{098C8517-75C0-45C7-B74B-67B0DF1B1923}"/>
    <dgm:cxn modelId="{7F6C49B3-D382-4640-8CFE-8BBB2ACB4CD0}" type="presOf" srcId="{E5E998FD-E0F0-4E72-8629-4A0FB8CAB11F}" destId="{D92A4A7E-C985-4DBD-BE3E-96A120BEC48C}" srcOrd="0" destOrd="0" presId="urn:microsoft.com/office/officeart/2005/8/layout/hList1"/>
    <dgm:cxn modelId="{71185AB6-2F70-4D06-B0F8-6C6831463AE9}" srcId="{1FE0DC7F-1567-44BE-91F4-24472E3957EE}" destId="{CBA319D9-8CA0-4A01-B70F-31EB15244AD0}" srcOrd="2" destOrd="0" parTransId="{69BB4504-444D-474D-921D-F005EBD764B3}" sibTransId="{EB86078B-CF1D-4AC2-82B9-8119B6ABCDB0}"/>
    <dgm:cxn modelId="{59D8BAC8-9932-49EE-8816-F8CEB6E4307C}" type="presOf" srcId="{0B9A902D-E5FE-45E3-9045-6F8576B6E0D9}" destId="{9B8553EE-9DC1-48D0-B043-A202F042D30C}" srcOrd="0" destOrd="0" presId="urn:microsoft.com/office/officeart/2005/8/layout/hList1"/>
    <dgm:cxn modelId="{807196D2-AF44-4E62-9A34-B465A484B107}" srcId="{CB24C34F-E4B9-4CC4-8FBB-2F00097027FB}" destId="{9C23A534-039A-4B3A-97FC-561C7F0C8444}" srcOrd="0" destOrd="0" parTransId="{179ED059-A7C2-4AD5-96A6-80B52E3437BB}" sibTransId="{95DEFF67-7D6E-4387-9513-AD433A5AB845}"/>
    <dgm:cxn modelId="{3BE68CDE-C20F-4E4F-858B-85562DD4ED96}" srcId="{E5E998FD-E0F0-4E72-8629-4A0FB8CAB11F}" destId="{CB24C34F-E4B9-4CC4-8FBB-2F00097027FB}" srcOrd="3" destOrd="0" parTransId="{B4974848-0D50-405C-8AB5-213072CE7E80}" sibTransId="{ECD37662-A475-4CD5-B8A5-9C0A938A939C}"/>
    <dgm:cxn modelId="{0EAFAEDF-3295-497F-AF0F-98C85F84AF77}" type="presOf" srcId="{BBC7CE53-D2BC-48FC-9B91-39DA6980D235}" destId="{0D5F96D4-2B0B-4C2D-ABED-EDA5CED113CE}" srcOrd="0" destOrd="0" presId="urn:microsoft.com/office/officeart/2005/8/layout/hList1"/>
    <dgm:cxn modelId="{793A9FF6-88D0-4F9F-B96F-70912BAF6CB5}" srcId="{E5E998FD-E0F0-4E72-8629-4A0FB8CAB11F}" destId="{63684CC5-6549-4AA6-9DD2-AF54DF723912}" srcOrd="2" destOrd="0" parTransId="{99E482F4-0809-438F-8E25-C245391B33F0}" sibTransId="{096FD977-2160-4795-AA83-A3F9EFC20A51}"/>
    <dgm:cxn modelId="{179517B6-0E63-4C04-9168-E8F8A797B477}" type="presParOf" srcId="{D92A4A7E-C985-4DBD-BE3E-96A120BEC48C}" destId="{41BE45B6-4BB6-4752-985B-53DF12DD0D41}" srcOrd="0" destOrd="0" presId="urn:microsoft.com/office/officeart/2005/8/layout/hList1"/>
    <dgm:cxn modelId="{CA0A7636-7771-4F28-8AC3-656DD298F1DB}" type="presParOf" srcId="{41BE45B6-4BB6-4752-985B-53DF12DD0D41}" destId="{519FE002-9658-4118-B136-46662DE51FB5}" srcOrd="0" destOrd="0" presId="urn:microsoft.com/office/officeart/2005/8/layout/hList1"/>
    <dgm:cxn modelId="{7B07F0A6-4826-49A3-ADBD-16A7EDA705A1}" type="presParOf" srcId="{41BE45B6-4BB6-4752-985B-53DF12DD0D41}" destId="{46B2A294-8DEB-431F-A450-EACABC99463C}" srcOrd="1" destOrd="0" presId="urn:microsoft.com/office/officeart/2005/8/layout/hList1"/>
    <dgm:cxn modelId="{B31AAF5B-BEFD-4EA2-90A6-C89D33301825}" type="presParOf" srcId="{D92A4A7E-C985-4DBD-BE3E-96A120BEC48C}" destId="{670440A3-AA8F-4CEE-9EC8-50B54DE6BFE6}" srcOrd="1" destOrd="0" presId="urn:microsoft.com/office/officeart/2005/8/layout/hList1"/>
    <dgm:cxn modelId="{442538B1-02E9-4313-86C2-7590A3915881}" type="presParOf" srcId="{D92A4A7E-C985-4DBD-BE3E-96A120BEC48C}" destId="{480468E1-E575-4F62-8BDE-9ECFE1CC4FE9}" srcOrd="2" destOrd="0" presId="urn:microsoft.com/office/officeart/2005/8/layout/hList1"/>
    <dgm:cxn modelId="{F502EBBE-BCBD-4740-A649-8536675F94B7}" type="presParOf" srcId="{480468E1-E575-4F62-8BDE-9ECFE1CC4FE9}" destId="{0D5F96D4-2B0B-4C2D-ABED-EDA5CED113CE}" srcOrd="0" destOrd="0" presId="urn:microsoft.com/office/officeart/2005/8/layout/hList1"/>
    <dgm:cxn modelId="{AD86C729-B593-4CE4-B34C-EE6AB79F432B}" type="presParOf" srcId="{480468E1-E575-4F62-8BDE-9ECFE1CC4FE9}" destId="{54365AD5-0B54-4735-8768-2F760476BB04}" srcOrd="1" destOrd="0" presId="urn:microsoft.com/office/officeart/2005/8/layout/hList1"/>
    <dgm:cxn modelId="{187F7C4C-4E56-407A-AC64-BA6ED0122B33}" type="presParOf" srcId="{D92A4A7E-C985-4DBD-BE3E-96A120BEC48C}" destId="{BE3BFA92-913A-415E-9F24-49E3E6D18803}" srcOrd="3" destOrd="0" presId="urn:microsoft.com/office/officeart/2005/8/layout/hList1"/>
    <dgm:cxn modelId="{735393C1-80D8-4247-B834-ECC1072C0339}" type="presParOf" srcId="{D92A4A7E-C985-4DBD-BE3E-96A120BEC48C}" destId="{EA150F0C-4DC9-4A8F-882A-8C4BC4E88BAA}" srcOrd="4" destOrd="0" presId="urn:microsoft.com/office/officeart/2005/8/layout/hList1"/>
    <dgm:cxn modelId="{8DD125CD-4051-46DD-8922-0E0E2F32EBA3}" type="presParOf" srcId="{EA150F0C-4DC9-4A8F-882A-8C4BC4E88BAA}" destId="{9421DCFF-7251-432F-A1B7-D6E2B5B967DB}" srcOrd="0" destOrd="0" presId="urn:microsoft.com/office/officeart/2005/8/layout/hList1"/>
    <dgm:cxn modelId="{5BC26DFA-4F13-4AB5-B6B2-AB8750ED715C}" type="presParOf" srcId="{EA150F0C-4DC9-4A8F-882A-8C4BC4E88BAA}" destId="{9B8553EE-9DC1-48D0-B043-A202F042D30C}" srcOrd="1" destOrd="0" presId="urn:microsoft.com/office/officeart/2005/8/layout/hList1"/>
    <dgm:cxn modelId="{04E19AB0-9A65-4CAA-83D1-BC6D4B4EE27E}" type="presParOf" srcId="{D92A4A7E-C985-4DBD-BE3E-96A120BEC48C}" destId="{4FEAF558-1C32-4DDA-8E8F-9BBB5CFC9328}" srcOrd="5" destOrd="0" presId="urn:microsoft.com/office/officeart/2005/8/layout/hList1"/>
    <dgm:cxn modelId="{C5D43038-1896-4275-B5DC-A5CDDE144BFB}" type="presParOf" srcId="{D92A4A7E-C985-4DBD-BE3E-96A120BEC48C}" destId="{3E948EBC-E255-4859-B7A9-C78A668475D4}" srcOrd="6" destOrd="0" presId="urn:microsoft.com/office/officeart/2005/8/layout/hList1"/>
    <dgm:cxn modelId="{4A667A3E-6690-4991-A60D-499600873335}" type="presParOf" srcId="{3E948EBC-E255-4859-B7A9-C78A668475D4}" destId="{884E727B-F42D-4061-8A7D-7F40AE572689}" srcOrd="0" destOrd="0" presId="urn:microsoft.com/office/officeart/2005/8/layout/hList1"/>
    <dgm:cxn modelId="{517AE442-2F85-4398-AFB0-709F71C7E91D}" type="presParOf" srcId="{3E948EBC-E255-4859-B7A9-C78A668475D4}" destId="{A8A3D28F-835D-42C2-BCDB-F797C483A08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5BA5DF8-A047-4DCA-A827-7E0BA9E6333D}" type="doc">
      <dgm:prSet loTypeId="urn:microsoft.com/office/officeart/2018/2/layout/IconCircleList" loCatId="icon" qsTypeId="urn:microsoft.com/office/officeart/2005/8/quickstyle/simple1" qsCatId="simple" csTypeId="urn:microsoft.com/office/officeart/2018/5/colors/Iconchunking_neutralbg_accent4_2" csCatId="accent4" phldr="1"/>
      <dgm:spPr/>
      <dgm:t>
        <a:bodyPr/>
        <a:lstStyle/>
        <a:p>
          <a:endParaRPr lang="en-US"/>
        </a:p>
      </dgm:t>
    </dgm:pt>
    <dgm:pt modelId="{EF73638B-7D7E-4B19-A5B8-DC18D9318E07}">
      <dgm:prSet custT="1"/>
      <dgm:spPr/>
      <dgm:t>
        <a:bodyPr/>
        <a:lstStyle/>
        <a:p>
          <a:pPr>
            <a:lnSpc>
              <a:spcPct val="100000"/>
            </a:lnSpc>
          </a:pPr>
          <a:r>
            <a:rPr lang="en-GB" sz="2000" cap="none" dirty="0"/>
            <a:t>The costing analysis follows widely used guidelines in estimating the costs of interventions.</a:t>
          </a:r>
        </a:p>
        <a:p>
          <a:pPr>
            <a:lnSpc>
              <a:spcPct val="100000"/>
            </a:lnSpc>
          </a:pPr>
          <a:endParaRPr lang="en-GB" sz="2000" cap="none" dirty="0"/>
        </a:p>
        <a:p>
          <a:pPr>
            <a:lnSpc>
              <a:spcPct val="100000"/>
            </a:lnSpc>
          </a:pPr>
          <a:r>
            <a:rPr lang="en-GB" sz="2000" cap="none" dirty="0"/>
            <a:t>Uses an activity-based costing approach </a:t>
          </a:r>
        </a:p>
        <a:p>
          <a:pPr>
            <a:lnSpc>
              <a:spcPct val="100000"/>
            </a:lnSpc>
          </a:pPr>
          <a:endParaRPr lang="en-GB" sz="2000" cap="none" dirty="0"/>
        </a:p>
        <a:p>
          <a:pPr>
            <a:lnSpc>
              <a:spcPct val="100000"/>
            </a:lnSpc>
          </a:pPr>
          <a:r>
            <a:rPr lang="en-GB" sz="2000" cap="none" dirty="0"/>
            <a:t>However, the analysis does not include cost to the adolescents in assessing the interventions or the broader societal cost of the intervention. </a:t>
          </a:r>
        </a:p>
        <a:p>
          <a:pPr>
            <a:lnSpc>
              <a:spcPct val="100000"/>
            </a:lnSpc>
          </a:pPr>
          <a:endParaRPr lang="en-GB" sz="2000" cap="none" dirty="0"/>
        </a:p>
        <a:p>
          <a:pPr>
            <a:lnSpc>
              <a:spcPct val="100000"/>
            </a:lnSpc>
          </a:pPr>
          <a:r>
            <a:rPr lang="en-GB" sz="2000" cap="none" dirty="0"/>
            <a:t>All activities associated with the delivery of the interventions were identified and costed individually and aggregated using an excel-based tool developed specifically </a:t>
          </a:r>
          <a:r>
            <a:rPr lang="en-GB" sz="1400" cap="none" dirty="0"/>
            <a:t>for this purpose</a:t>
          </a:r>
          <a:endParaRPr lang="en-US" sz="1400" cap="none" dirty="0"/>
        </a:p>
      </dgm:t>
    </dgm:pt>
    <dgm:pt modelId="{8292472E-530F-44BA-967E-3E533CC09D2A}" type="parTrans" cxnId="{EA5DF16B-D53B-41EB-BC3B-9951ADA4D840}">
      <dgm:prSet/>
      <dgm:spPr/>
      <dgm:t>
        <a:bodyPr/>
        <a:lstStyle/>
        <a:p>
          <a:endParaRPr lang="en-US"/>
        </a:p>
      </dgm:t>
    </dgm:pt>
    <dgm:pt modelId="{DCB43AA1-7A2C-491F-BD7B-D92AEA90A66E}" type="sibTrans" cxnId="{EA5DF16B-D53B-41EB-BC3B-9951ADA4D840}">
      <dgm:prSet/>
      <dgm:spPr/>
      <dgm:t>
        <a:bodyPr/>
        <a:lstStyle/>
        <a:p>
          <a:pPr>
            <a:lnSpc>
              <a:spcPct val="100000"/>
            </a:lnSpc>
          </a:pPr>
          <a:endParaRPr lang="en-US"/>
        </a:p>
      </dgm:t>
    </dgm:pt>
    <dgm:pt modelId="{51D58915-4ABF-483C-8EC5-7FA79AD0C91E}">
      <dgm:prSet custT="1"/>
      <dgm:spPr/>
      <dgm:t>
        <a:bodyPr/>
        <a:lstStyle/>
        <a:p>
          <a:pPr>
            <a:lnSpc>
              <a:spcPct val="100000"/>
            </a:lnSpc>
          </a:pPr>
          <a:r>
            <a:rPr lang="en-GB" sz="2000" cap="none" dirty="0"/>
            <a:t>Data on inputs and assumptions were agreed upon by the study team. </a:t>
          </a:r>
        </a:p>
        <a:p>
          <a:pPr>
            <a:lnSpc>
              <a:spcPct val="100000"/>
            </a:lnSpc>
          </a:pPr>
          <a:r>
            <a:rPr lang="en-GB" sz="2000" cap="none" dirty="0"/>
            <a:t>Key informant interviews within the respective stakeholders were conducted for additional information, as needed, to inform the analysis. </a:t>
          </a:r>
        </a:p>
        <a:p>
          <a:pPr>
            <a:lnSpc>
              <a:spcPct val="100000"/>
            </a:lnSpc>
          </a:pPr>
          <a:endParaRPr lang="en-GB" sz="2000" cap="none" dirty="0"/>
        </a:p>
        <a:p>
          <a:pPr>
            <a:lnSpc>
              <a:spcPct val="100000"/>
            </a:lnSpc>
          </a:pPr>
          <a:r>
            <a:rPr lang="en-GB" sz="2000" cap="none" dirty="0"/>
            <a:t>Duration: September 2021 to June 2022. </a:t>
          </a:r>
        </a:p>
        <a:p>
          <a:pPr>
            <a:lnSpc>
              <a:spcPct val="100000"/>
            </a:lnSpc>
          </a:pPr>
          <a:endParaRPr lang="en-GB" sz="2000" cap="none" dirty="0"/>
        </a:p>
        <a:p>
          <a:pPr>
            <a:lnSpc>
              <a:spcPct val="100000"/>
            </a:lnSpc>
          </a:pPr>
          <a:r>
            <a:rPr lang="en-GB" sz="2000" cap="none" dirty="0"/>
            <a:t>The analysis estimates costs for a seven-year time frame (2015–2021). </a:t>
          </a:r>
          <a:endParaRPr lang="en-US" sz="2000" cap="none" dirty="0"/>
        </a:p>
      </dgm:t>
    </dgm:pt>
    <dgm:pt modelId="{7C765B05-88D1-41B5-A0AC-6E9C6BF46950}" type="parTrans" cxnId="{5E57726F-F0FF-42C1-8658-D974EFC56BBC}">
      <dgm:prSet/>
      <dgm:spPr/>
      <dgm:t>
        <a:bodyPr/>
        <a:lstStyle/>
        <a:p>
          <a:endParaRPr lang="en-US"/>
        </a:p>
      </dgm:t>
    </dgm:pt>
    <dgm:pt modelId="{4402EEDE-7FBF-4436-8F19-F07C50B1EF46}" type="sibTrans" cxnId="{5E57726F-F0FF-42C1-8658-D974EFC56BBC}">
      <dgm:prSet/>
      <dgm:spPr/>
      <dgm:t>
        <a:bodyPr/>
        <a:lstStyle/>
        <a:p>
          <a:endParaRPr lang="en-US"/>
        </a:p>
      </dgm:t>
    </dgm:pt>
    <dgm:pt modelId="{729BDE1D-2EDA-4614-919A-CC6AC0AB4BCE}" type="pres">
      <dgm:prSet presAssocID="{B5BA5DF8-A047-4DCA-A827-7E0BA9E6333D}" presName="root" presStyleCnt="0">
        <dgm:presLayoutVars>
          <dgm:dir/>
          <dgm:resizeHandles val="exact"/>
        </dgm:presLayoutVars>
      </dgm:prSet>
      <dgm:spPr/>
    </dgm:pt>
    <dgm:pt modelId="{4044EFA8-8011-45B2-B825-4DA09EB9AFEA}" type="pres">
      <dgm:prSet presAssocID="{B5BA5DF8-A047-4DCA-A827-7E0BA9E6333D}" presName="container" presStyleCnt="0">
        <dgm:presLayoutVars>
          <dgm:dir/>
          <dgm:resizeHandles val="exact"/>
        </dgm:presLayoutVars>
      </dgm:prSet>
      <dgm:spPr/>
    </dgm:pt>
    <dgm:pt modelId="{B17211C5-25EA-4463-8344-16C27D0567D2}" type="pres">
      <dgm:prSet presAssocID="{EF73638B-7D7E-4B19-A5B8-DC18D9318E07}" presName="compNode" presStyleCnt="0"/>
      <dgm:spPr/>
    </dgm:pt>
    <dgm:pt modelId="{B864649A-F33A-4D21-B15A-CDC54456CC6A}" type="pres">
      <dgm:prSet presAssocID="{EF73638B-7D7E-4B19-A5B8-DC18D9318E07}" presName="iconBgRect" presStyleLbl="bgShp" presStyleIdx="0" presStyleCnt="2"/>
      <dgm:spPr/>
    </dgm:pt>
    <dgm:pt modelId="{1B37A9F1-ABA3-4541-B236-2458B3565DBD}" type="pres">
      <dgm:prSet presAssocID="{EF73638B-7D7E-4B19-A5B8-DC18D9318E07}"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culator"/>
        </a:ext>
      </dgm:extLst>
    </dgm:pt>
    <dgm:pt modelId="{EBDBF063-0E48-4C4C-9C9D-10F789B1027A}" type="pres">
      <dgm:prSet presAssocID="{EF73638B-7D7E-4B19-A5B8-DC18D9318E07}" presName="spaceRect" presStyleCnt="0"/>
      <dgm:spPr/>
    </dgm:pt>
    <dgm:pt modelId="{A9300B6B-0091-4ADA-AFE1-7E9BD91521EE}" type="pres">
      <dgm:prSet presAssocID="{EF73638B-7D7E-4B19-A5B8-DC18D9318E07}" presName="textRect" presStyleLbl="revTx" presStyleIdx="0" presStyleCnt="2" custScaleX="125797">
        <dgm:presLayoutVars>
          <dgm:chMax val="1"/>
          <dgm:chPref val="1"/>
        </dgm:presLayoutVars>
      </dgm:prSet>
      <dgm:spPr/>
    </dgm:pt>
    <dgm:pt modelId="{427018D4-8A67-4D60-B123-8F47DDF3466E}" type="pres">
      <dgm:prSet presAssocID="{DCB43AA1-7A2C-491F-BD7B-D92AEA90A66E}" presName="sibTrans" presStyleLbl="sibTrans2D1" presStyleIdx="0" presStyleCnt="0"/>
      <dgm:spPr/>
    </dgm:pt>
    <dgm:pt modelId="{58B888A8-E8D4-4F5B-84CC-8A3FF96D7565}" type="pres">
      <dgm:prSet presAssocID="{51D58915-4ABF-483C-8EC5-7FA79AD0C91E}" presName="compNode" presStyleCnt="0"/>
      <dgm:spPr/>
    </dgm:pt>
    <dgm:pt modelId="{02DDD794-37B0-4250-BAB2-FC017D8D9EAB}" type="pres">
      <dgm:prSet presAssocID="{51D58915-4ABF-483C-8EC5-7FA79AD0C91E}" presName="iconBgRect" presStyleLbl="bgShp" presStyleIdx="1" presStyleCnt="2"/>
      <dgm:spPr/>
    </dgm:pt>
    <dgm:pt modelId="{879D7247-75C1-4DD6-82EC-345142B677D2}" type="pres">
      <dgm:prSet presAssocID="{51D58915-4ABF-483C-8EC5-7FA79AD0C91E}"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oins"/>
        </a:ext>
      </dgm:extLst>
    </dgm:pt>
    <dgm:pt modelId="{2826D325-9206-4A7A-B43B-D85021B1CE54}" type="pres">
      <dgm:prSet presAssocID="{51D58915-4ABF-483C-8EC5-7FA79AD0C91E}" presName="spaceRect" presStyleCnt="0"/>
      <dgm:spPr/>
    </dgm:pt>
    <dgm:pt modelId="{FA86A8E1-0667-4940-8B95-824722A79A96}" type="pres">
      <dgm:prSet presAssocID="{51D58915-4ABF-483C-8EC5-7FA79AD0C91E}" presName="textRect" presStyleLbl="revTx" presStyleIdx="1" presStyleCnt="2">
        <dgm:presLayoutVars>
          <dgm:chMax val="1"/>
          <dgm:chPref val="1"/>
        </dgm:presLayoutVars>
      </dgm:prSet>
      <dgm:spPr/>
    </dgm:pt>
  </dgm:ptLst>
  <dgm:cxnLst>
    <dgm:cxn modelId="{C4EDE72F-83FF-654B-B6FF-67F3B681A69C}" type="presOf" srcId="{EF73638B-7D7E-4B19-A5B8-DC18D9318E07}" destId="{A9300B6B-0091-4ADA-AFE1-7E9BD91521EE}" srcOrd="0" destOrd="0" presId="urn:microsoft.com/office/officeart/2018/2/layout/IconCircleList"/>
    <dgm:cxn modelId="{EA5DF16B-D53B-41EB-BC3B-9951ADA4D840}" srcId="{B5BA5DF8-A047-4DCA-A827-7E0BA9E6333D}" destId="{EF73638B-7D7E-4B19-A5B8-DC18D9318E07}" srcOrd="0" destOrd="0" parTransId="{8292472E-530F-44BA-967E-3E533CC09D2A}" sibTransId="{DCB43AA1-7A2C-491F-BD7B-D92AEA90A66E}"/>
    <dgm:cxn modelId="{5E57726F-F0FF-42C1-8658-D974EFC56BBC}" srcId="{B5BA5DF8-A047-4DCA-A827-7E0BA9E6333D}" destId="{51D58915-4ABF-483C-8EC5-7FA79AD0C91E}" srcOrd="1" destOrd="0" parTransId="{7C765B05-88D1-41B5-A0AC-6E9C6BF46950}" sibTransId="{4402EEDE-7FBF-4436-8F19-F07C50B1EF46}"/>
    <dgm:cxn modelId="{02B9BCC0-6E14-4640-AD04-877A409947BE}" type="presOf" srcId="{B5BA5DF8-A047-4DCA-A827-7E0BA9E6333D}" destId="{729BDE1D-2EDA-4614-919A-CC6AC0AB4BCE}" srcOrd="0" destOrd="0" presId="urn:microsoft.com/office/officeart/2018/2/layout/IconCircleList"/>
    <dgm:cxn modelId="{886B22C4-FD37-DD45-BBF8-CF8932268943}" type="presOf" srcId="{51D58915-4ABF-483C-8EC5-7FA79AD0C91E}" destId="{FA86A8E1-0667-4940-8B95-824722A79A96}" srcOrd="0" destOrd="0" presId="urn:microsoft.com/office/officeart/2018/2/layout/IconCircleList"/>
    <dgm:cxn modelId="{66D698C6-CC3B-5441-83EA-A919767A0CD2}" type="presOf" srcId="{DCB43AA1-7A2C-491F-BD7B-D92AEA90A66E}" destId="{427018D4-8A67-4D60-B123-8F47DDF3466E}" srcOrd="0" destOrd="0" presId="urn:microsoft.com/office/officeart/2018/2/layout/IconCircleList"/>
    <dgm:cxn modelId="{E9861A88-229F-274C-B2BD-779A0A1FBB26}" type="presParOf" srcId="{729BDE1D-2EDA-4614-919A-CC6AC0AB4BCE}" destId="{4044EFA8-8011-45B2-B825-4DA09EB9AFEA}" srcOrd="0" destOrd="0" presId="urn:microsoft.com/office/officeart/2018/2/layout/IconCircleList"/>
    <dgm:cxn modelId="{5702F2C5-44EE-9B4B-B721-583034975E4C}" type="presParOf" srcId="{4044EFA8-8011-45B2-B825-4DA09EB9AFEA}" destId="{B17211C5-25EA-4463-8344-16C27D0567D2}" srcOrd="0" destOrd="0" presId="urn:microsoft.com/office/officeart/2018/2/layout/IconCircleList"/>
    <dgm:cxn modelId="{E08AFD94-303E-AE44-8D58-17D6D5D14425}" type="presParOf" srcId="{B17211C5-25EA-4463-8344-16C27D0567D2}" destId="{B864649A-F33A-4D21-B15A-CDC54456CC6A}" srcOrd="0" destOrd="0" presId="urn:microsoft.com/office/officeart/2018/2/layout/IconCircleList"/>
    <dgm:cxn modelId="{72A53B2D-6FFD-624D-956E-A12F307EF56B}" type="presParOf" srcId="{B17211C5-25EA-4463-8344-16C27D0567D2}" destId="{1B37A9F1-ABA3-4541-B236-2458B3565DBD}" srcOrd="1" destOrd="0" presId="urn:microsoft.com/office/officeart/2018/2/layout/IconCircleList"/>
    <dgm:cxn modelId="{9A564611-1EE0-2043-B47B-037B78C5EE25}" type="presParOf" srcId="{B17211C5-25EA-4463-8344-16C27D0567D2}" destId="{EBDBF063-0E48-4C4C-9C9D-10F789B1027A}" srcOrd="2" destOrd="0" presId="urn:microsoft.com/office/officeart/2018/2/layout/IconCircleList"/>
    <dgm:cxn modelId="{AC41FF9E-2DDD-FA49-8EED-7E02E58092D8}" type="presParOf" srcId="{B17211C5-25EA-4463-8344-16C27D0567D2}" destId="{A9300B6B-0091-4ADA-AFE1-7E9BD91521EE}" srcOrd="3" destOrd="0" presId="urn:microsoft.com/office/officeart/2018/2/layout/IconCircleList"/>
    <dgm:cxn modelId="{DBBE63DF-B7DD-D44A-AE27-B5729022E8D2}" type="presParOf" srcId="{4044EFA8-8011-45B2-B825-4DA09EB9AFEA}" destId="{427018D4-8A67-4D60-B123-8F47DDF3466E}" srcOrd="1" destOrd="0" presId="urn:microsoft.com/office/officeart/2018/2/layout/IconCircleList"/>
    <dgm:cxn modelId="{112EFEE0-24D5-154E-981E-F5C44BD1C5D7}" type="presParOf" srcId="{4044EFA8-8011-45B2-B825-4DA09EB9AFEA}" destId="{58B888A8-E8D4-4F5B-84CC-8A3FF96D7565}" srcOrd="2" destOrd="0" presId="urn:microsoft.com/office/officeart/2018/2/layout/IconCircleList"/>
    <dgm:cxn modelId="{3CE2B17F-84CE-3945-9ABA-847E6D842464}" type="presParOf" srcId="{58B888A8-E8D4-4F5B-84CC-8A3FF96D7565}" destId="{02DDD794-37B0-4250-BAB2-FC017D8D9EAB}" srcOrd="0" destOrd="0" presId="urn:microsoft.com/office/officeart/2018/2/layout/IconCircleList"/>
    <dgm:cxn modelId="{44A81F44-E95F-7649-92A7-315B37B6B679}" type="presParOf" srcId="{58B888A8-E8D4-4F5B-84CC-8A3FF96D7565}" destId="{879D7247-75C1-4DD6-82EC-345142B677D2}" srcOrd="1" destOrd="0" presId="urn:microsoft.com/office/officeart/2018/2/layout/IconCircleList"/>
    <dgm:cxn modelId="{64A16CD3-76F6-DB49-BABF-594F92E35755}" type="presParOf" srcId="{58B888A8-E8D4-4F5B-84CC-8A3FF96D7565}" destId="{2826D325-9206-4A7A-B43B-D85021B1CE54}" srcOrd="2" destOrd="0" presId="urn:microsoft.com/office/officeart/2018/2/layout/IconCircleList"/>
    <dgm:cxn modelId="{F81EDCEC-3E0A-4D44-8925-6BA2319EA68F}" type="presParOf" srcId="{58B888A8-E8D4-4F5B-84CC-8A3FF96D7565}" destId="{FA86A8E1-0667-4940-8B95-824722A79A96}"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1B1B50F-1E58-4951-A206-8B8183A677FE}"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C89EF4F1-6FEC-431C-905D-468AB26287AA}">
      <dgm:prSet/>
      <dgm:spPr/>
      <dgm:t>
        <a:bodyPr/>
        <a:lstStyle/>
        <a:p>
          <a:r>
            <a:rPr lang="en-GB"/>
            <a:t>To estimate the cost of the priority interventions identified, we developed an excel based instrumented to collect data.</a:t>
          </a:r>
          <a:endParaRPr lang="en-US"/>
        </a:p>
      </dgm:t>
    </dgm:pt>
    <dgm:pt modelId="{ABA28ED6-2A8C-4DA0-AD2C-E158D7F12A4C}" type="parTrans" cxnId="{22D3361C-3704-4F51-985C-62F5837D01D3}">
      <dgm:prSet/>
      <dgm:spPr/>
      <dgm:t>
        <a:bodyPr/>
        <a:lstStyle/>
        <a:p>
          <a:endParaRPr lang="en-US"/>
        </a:p>
      </dgm:t>
    </dgm:pt>
    <dgm:pt modelId="{D4A1A36C-DBF7-4FD2-B386-34601E071FA5}" type="sibTrans" cxnId="{22D3361C-3704-4F51-985C-62F5837D01D3}">
      <dgm:prSet/>
      <dgm:spPr/>
      <dgm:t>
        <a:bodyPr/>
        <a:lstStyle/>
        <a:p>
          <a:endParaRPr lang="en-US"/>
        </a:p>
      </dgm:t>
    </dgm:pt>
    <dgm:pt modelId="{178E0398-D979-4413-AD32-BBF7001AB0C1}">
      <dgm:prSet/>
      <dgm:spPr/>
      <dgm:t>
        <a:bodyPr/>
        <a:lstStyle/>
        <a:p>
          <a:r>
            <a:rPr lang="en-GB"/>
            <a:t>This involved a critical analysis of each intervention and the potential cost components or centres underpinning the intervention. </a:t>
          </a:r>
          <a:endParaRPr lang="en-US"/>
        </a:p>
      </dgm:t>
    </dgm:pt>
    <dgm:pt modelId="{817DE225-27E1-4158-A978-CDE804DE7713}" type="parTrans" cxnId="{F93CA322-0322-491D-97B7-7B786ECDF5BD}">
      <dgm:prSet/>
      <dgm:spPr/>
      <dgm:t>
        <a:bodyPr/>
        <a:lstStyle/>
        <a:p>
          <a:endParaRPr lang="en-US"/>
        </a:p>
      </dgm:t>
    </dgm:pt>
    <dgm:pt modelId="{9574B0B1-71DC-462F-9115-652DD12E514F}" type="sibTrans" cxnId="{F93CA322-0322-491D-97B7-7B786ECDF5BD}">
      <dgm:prSet/>
      <dgm:spPr/>
      <dgm:t>
        <a:bodyPr/>
        <a:lstStyle/>
        <a:p>
          <a:endParaRPr lang="en-US"/>
        </a:p>
      </dgm:t>
    </dgm:pt>
    <dgm:pt modelId="{3E9CDB41-087D-40EC-B642-B1ACAAD4B220}">
      <dgm:prSet/>
      <dgm:spPr/>
      <dgm:t>
        <a:bodyPr/>
        <a:lstStyle/>
        <a:p>
          <a:r>
            <a:rPr lang="en-GB" dirty="0"/>
            <a:t>The micro activities cost components were then further classified into major cost categories or centres consistent with activity costing practice and procedures. </a:t>
          </a:r>
          <a:endParaRPr lang="en-US" dirty="0"/>
        </a:p>
      </dgm:t>
    </dgm:pt>
    <dgm:pt modelId="{D4142644-AB9E-46E8-9C43-37BD3A8F6382}" type="parTrans" cxnId="{7A6BE13F-82A6-4919-B89A-1231CE73D40A}">
      <dgm:prSet/>
      <dgm:spPr/>
      <dgm:t>
        <a:bodyPr/>
        <a:lstStyle/>
        <a:p>
          <a:endParaRPr lang="en-US"/>
        </a:p>
      </dgm:t>
    </dgm:pt>
    <dgm:pt modelId="{68FF7133-5DE0-40F5-A9BA-0182A9B14527}" type="sibTrans" cxnId="{7A6BE13F-82A6-4919-B89A-1231CE73D40A}">
      <dgm:prSet/>
      <dgm:spPr/>
      <dgm:t>
        <a:bodyPr/>
        <a:lstStyle/>
        <a:p>
          <a:endParaRPr lang="en-US"/>
        </a:p>
      </dgm:t>
    </dgm:pt>
    <dgm:pt modelId="{E929620E-D103-4111-8FFD-5480092252CC}">
      <dgm:prSet/>
      <dgm:spPr/>
      <dgm:t>
        <a:bodyPr/>
        <a:lstStyle/>
        <a:p>
          <a:r>
            <a:rPr lang="en-GB" dirty="0"/>
            <a:t>The tool was shared widely with the wider research team and stakeholders for inputs and validation for the data collection. </a:t>
          </a:r>
          <a:endParaRPr lang="en-US" dirty="0"/>
        </a:p>
      </dgm:t>
    </dgm:pt>
    <dgm:pt modelId="{E97F614E-62D4-4EBD-B20E-5FC9BD383FD7}" type="parTrans" cxnId="{96321359-EAB8-47CF-807F-EBA71AFAA344}">
      <dgm:prSet/>
      <dgm:spPr/>
      <dgm:t>
        <a:bodyPr/>
        <a:lstStyle/>
        <a:p>
          <a:endParaRPr lang="en-US"/>
        </a:p>
      </dgm:t>
    </dgm:pt>
    <dgm:pt modelId="{CE93DD1A-06EA-4245-B374-563D2284B3CA}" type="sibTrans" cxnId="{96321359-EAB8-47CF-807F-EBA71AFAA344}">
      <dgm:prSet/>
      <dgm:spPr/>
      <dgm:t>
        <a:bodyPr/>
        <a:lstStyle/>
        <a:p>
          <a:endParaRPr lang="en-US"/>
        </a:p>
      </dgm:t>
    </dgm:pt>
    <dgm:pt modelId="{D208D49B-5B0F-1F41-975C-C3E2D8C4F353}" type="pres">
      <dgm:prSet presAssocID="{21B1B50F-1E58-4951-A206-8B8183A677FE}" presName="vert0" presStyleCnt="0">
        <dgm:presLayoutVars>
          <dgm:dir/>
          <dgm:animOne val="branch"/>
          <dgm:animLvl val="lvl"/>
        </dgm:presLayoutVars>
      </dgm:prSet>
      <dgm:spPr/>
    </dgm:pt>
    <dgm:pt modelId="{878507F7-58F0-174C-A020-08D7A86C310C}" type="pres">
      <dgm:prSet presAssocID="{C89EF4F1-6FEC-431C-905D-468AB26287AA}" presName="thickLine" presStyleLbl="alignNode1" presStyleIdx="0" presStyleCnt="4"/>
      <dgm:spPr/>
    </dgm:pt>
    <dgm:pt modelId="{07122C1E-4F9E-1440-8AB9-B92377711F3D}" type="pres">
      <dgm:prSet presAssocID="{C89EF4F1-6FEC-431C-905D-468AB26287AA}" presName="horz1" presStyleCnt="0"/>
      <dgm:spPr/>
    </dgm:pt>
    <dgm:pt modelId="{76F00B97-C3CE-7F48-B5A6-3B63BCE1B408}" type="pres">
      <dgm:prSet presAssocID="{C89EF4F1-6FEC-431C-905D-468AB26287AA}" presName="tx1" presStyleLbl="revTx" presStyleIdx="0" presStyleCnt="4"/>
      <dgm:spPr/>
    </dgm:pt>
    <dgm:pt modelId="{BD2AA6EA-BA23-3845-9229-6151CD12841C}" type="pres">
      <dgm:prSet presAssocID="{C89EF4F1-6FEC-431C-905D-468AB26287AA}" presName="vert1" presStyleCnt="0"/>
      <dgm:spPr/>
    </dgm:pt>
    <dgm:pt modelId="{58A3E9C8-1E53-D747-9E83-F7730B01A297}" type="pres">
      <dgm:prSet presAssocID="{178E0398-D979-4413-AD32-BBF7001AB0C1}" presName="thickLine" presStyleLbl="alignNode1" presStyleIdx="1" presStyleCnt="4"/>
      <dgm:spPr/>
    </dgm:pt>
    <dgm:pt modelId="{140AF444-E7E2-CA44-974B-9CF1EF4AA601}" type="pres">
      <dgm:prSet presAssocID="{178E0398-D979-4413-AD32-BBF7001AB0C1}" presName="horz1" presStyleCnt="0"/>
      <dgm:spPr/>
    </dgm:pt>
    <dgm:pt modelId="{6659E6D7-D59A-9F42-BCEB-5482E74BC60F}" type="pres">
      <dgm:prSet presAssocID="{178E0398-D979-4413-AD32-BBF7001AB0C1}" presName="tx1" presStyleLbl="revTx" presStyleIdx="1" presStyleCnt="4"/>
      <dgm:spPr/>
    </dgm:pt>
    <dgm:pt modelId="{6EFCCF69-FB53-F543-9625-DDAA43E33F6C}" type="pres">
      <dgm:prSet presAssocID="{178E0398-D979-4413-AD32-BBF7001AB0C1}" presName="vert1" presStyleCnt="0"/>
      <dgm:spPr/>
    </dgm:pt>
    <dgm:pt modelId="{573AC19B-20BF-CD49-8205-2F2527882EE1}" type="pres">
      <dgm:prSet presAssocID="{3E9CDB41-087D-40EC-B642-B1ACAAD4B220}" presName="thickLine" presStyleLbl="alignNode1" presStyleIdx="2" presStyleCnt="4"/>
      <dgm:spPr/>
    </dgm:pt>
    <dgm:pt modelId="{1CD4470D-5B92-9A4B-8B44-5365C8090CE9}" type="pres">
      <dgm:prSet presAssocID="{3E9CDB41-087D-40EC-B642-B1ACAAD4B220}" presName="horz1" presStyleCnt="0"/>
      <dgm:spPr/>
    </dgm:pt>
    <dgm:pt modelId="{19182A02-EDEB-244B-92F2-86677F32CC55}" type="pres">
      <dgm:prSet presAssocID="{3E9CDB41-087D-40EC-B642-B1ACAAD4B220}" presName="tx1" presStyleLbl="revTx" presStyleIdx="2" presStyleCnt="4"/>
      <dgm:spPr/>
    </dgm:pt>
    <dgm:pt modelId="{3F15B037-4E89-9B40-A6D5-18FC2A087886}" type="pres">
      <dgm:prSet presAssocID="{3E9CDB41-087D-40EC-B642-B1ACAAD4B220}" presName="vert1" presStyleCnt="0"/>
      <dgm:spPr/>
    </dgm:pt>
    <dgm:pt modelId="{A5D800F9-EB9D-E749-B109-444C9F53E057}" type="pres">
      <dgm:prSet presAssocID="{E929620E-D103-4111-8FFD-5480092252CC}" presName="thickLine" presStyleLbl="alignNode1" presStyleIdx="3" presStyleCnt="4"/>
      <dgm:spPr/>
    </dgm:pt>
    <dgm:pt modelId="{36368DDA-2235-F44A-A111-DE1CC14D2E91}" type="pres">
      <dgm:prSet presAssocID="{E929620E-D103-4111-8FFD-5480092252CC}" presName="horz1" presStyleCnt="0"/>
      <dgm:spPr/>
    </dgm:pt>
    <dgm:pt modelId="{FCA1835C-336E-3244-940B-8D4A6933F5D3}" type="pres">
      <dgm:prSet presAssocID="{E929620E-D103-4111-8FFD-5480092252CC}" presName="tx1" presStyleLbl="revTx" presStyleIdx="3" presStyleCnt="4"/>
      <dgm:spPr/>
    </dgm:pt>
    <dgm:pt modelId="{5CCBCB45-2EEF-D046-951F-ACD6F322FCDD}" type="pres">
      <dgm:prSet presAssocID="{E929620E-D103-4111-8FFD-5480092252CC}" presName="vert1" presStyleCnt="0"/>
      <dgm:spPr/>
    </dgm:pt>
  </dgm:ptLst>
  <dgm:cxnLst>
    <dgm:cxn modelId="{22D3361C-3704-4F51-985C-62F5837D01D3}" srcId="{21B1B50F-1E58-4951-A206-8B8183A677FE}" destId="{C89EF4F1-6FEC-431C-905D-468AB26287AA}" srcOrd="0" destOrd="0" parTransId="{ABA28ED6-2A8C-4DA0-AD2C-E158D7F12A4C}" sibTransId="{D4A1A36C-DBF7-4FD2-B386-34601E071FA5}"/>
    <dgm:cxn modelId="{F93CA322-0322-491D-97B7-7B786ECDF5BD}" srcId="{21B1B50F-1E58-4951-A206-8B8183A677FE}" destId="{178E0398-D979-4413-AD32-BBF7001AB0C1}" srcOrd="1" destOrd="0" parTransId="{817DE225-27E1-4158-A978-CDE804DE7713}" sibTransId="{9574B0B1-71DC-462F-9115-652DD12E514F}"/>
    <dgm:cxn modelId="{7A6BE13F-82A6-4919-B89A-1231CE73D40A}" srcId="{21B1B50F-1E58-4951-A206-8B8183A677FE}" destId="{3E9CDB41-087D-40EC-B642-B1ACAAD4B220}" srcOrd="2" destOrd="0" parTransId="{D4142644-AB9E-46E8-9C43-37BD3A8F6382}" sibTransId="{68FF7133-5DE0-40F5-A9BA-0182A9B14527}"/>
    <dgm:cxn modelId="{96321359-EAB8-47CF-807F-EBA71AFAA344}" srcId="{21B1B50F-1E58-4951-A206-8B8183A677FE}" destId="{E929620E-D103-4111-8FFD-5480092252CC}" srcOrd="3" destOrd="0" parTransId="{E97F614E-62D4-4EBD-B20E-5FC9BD383FD7}" sibTransId="{CE93DD1A-06EA-4245-B374-563D2284B3CA}"/>
    <dgm:cxn modelId="{60045670-25ED-CE44-93BC-57B26C7ACE32}" type="presOf" srcId="{C89EF4F1-6FEC-431C-905D-468AB26287AA}" destId="{76F00B97-C3CE-7F48-B5A6-3B63BCE1B408}" srcOrd="0" destOrd="0" presId="urn:microsoft.com/office/officeart/2008/layout/LinedList"/>
    <dgm:cxn modelId="{4FBF4186-D90D-F644-90BC-19E929C06293}" type="presOf" srcId="{178E0398-D979-4413-AD32-BBF7001AB0C1}" destId="{6659E6D7-D59A-9F42-BCEB-5482E74BC60F}" srcOrd="0" destOrd="0" presId="urn:microsoft.com/office/officeart/2008/layout/LinedList"/>
    <dgm:cxn modelId="{4CE75995-3562-6846-8FCE-0303932349BE}" type="presOf" srcId="{3E9CDB41-087D-40EC-B642-B1ACAAD4B220}" destId="{19182A02-EDEB-244B-92F2-86677F32CC55}" srcOrd="0" destOrd="0" presId="urn:microsoft.com/office/officeart/2008/layout/LinedList"/>
    <dgm:cxn modelId="{4A2B4DD0-455B-3545-B897-5C1D507CDCE2}" type="presOf" srcId="{21B1B50F-1E58-4951-A206-8B8183A677FE}" destId="{D208D49B-5B0F-1F41-975C-C3E2D8C4F353}" srcOrd="0" destOrd="0" presId="urn:microsoft.com/office/officeart/2008/layout/LinedList"/>
    <dgm:cxn modelId="{98F1BCE5-C59D-3E46-9266-6EEAF4F5CCCA}" type="presOf" srcId="{E929620E-D103-4111-8FFD-5480092252CC}" destId="{FCA1835C-336E-3244-940B-8D4A6933F5D3}" srcOrd="0" destOrd="0" presId="urn:microsoft.com/office/officeart/2008/layout/LinedList"/>
    <dgm:cxn modelId="{883C49F3-78FC-C148-8C5C-BE308B14265C}" type="presParOf" srcId="{D208D49B-5B0F-1F41-975C-C3E2D8C4F353}" destId="{878507F7-58F0-174C-A020-08D7A86C310C}" srcOrd="0" destOrd="0" presId="urn:microsoft.com/office/officeart/2008/layout/LinedList"/>
    <dgm:cxn modelId="{FED45259-8A42-3244-924A-A355ABA87E59}" type="presParOf" srcId="{D208D49B-5B0F-1F41-975C-C3E2D8C4F353}" destId="{07122C1E-4F9E-1440-8AB9-B92377711F3D}" srcOrd="1" destOrd="0" presId="urn:microsoft.com/office/officeart/2008/layout/LinedList"/>
    <dgm:cxn modelId="{3D8A024D-91EE-3C4D-A35A-E112F7BA6DB6}" type="presParOf" srcId="{07122C1E-4F9E-1440-8AB9-B92377711F3D}" destId="{76F00B97-C3CE-7F48-B5A6-3B63BCE1B408}" srcOrd="0" destOrd="0" presId="urn:microsoft.com/office/officeart/2008/layout/LinedList"/>
    <dgm:cxn modelId="{0AE1FA63-53C4-3745-A22B-892D6CB6D437}" type="presParOf" srcId="{07122C1E-4F9E-1440-8AB9-B92377711F3D}" destId="{BD2AA6EA-BA23-3845-9229-6151CD12841C}" srcOrd="1" destOrd="0" presId="urn:microsoft.com/office/officeart/2008/layout/LinedList"/>
    <dgm:cxn modelId="{5FE173CA-8D3F-0C4D-96FF-64CA14A433BD}" type="presParOf" srcId="{D208D49B-5B0F-1F41-975C-C3E2D8C4F353}" destId="{58A3E9C8-1E53-D747-9E83-F7730B01A297}" srcOrd="2" destOrd="0" presId="urn:microsoft.com/office/officeart/2008/layout/LinedList"/>
    <dgm:cxn modelId="{E0FEC0C5-3DE3-4340-A6AD-BFF69D051E85}" type="presParOf" srcId="{D208D49B-5B0F-1F41-975C-C3E2D8C4F353}" destId="{140AF444-E7E2-CA44-974B-9CF1EF4AA601}" srcOrd="3" destOrd="0" presId="urn:microsoft.com/office/officeart/2008/layout/LinedList"/>
    <dgm:cxn modelId="{30E0BC88-25CE-8F41-B350-E7CB53C6DFC7}" type="presParOf" srcId="{140AF444-E7E2-CA44-974B-9CF1EF4AA601}" destId="{6659E6D7-D59A-9F42-BCEB-5482E74BC60F}" srcOrd="0" destOrd="0" presId="urn:microsoft.com/office/officeart/2008/layout/LinedList"/>
    <dgm:cxn modelId="{078E0541-AEB2-A64C-B9C6-3F495E56820D}" type="presParOf" srcId="{140AF444-E7E2-CA44-974B-9CF1EF4AA601}" destId="{6EFCCF69-FB53-F543-9625-DDAA43E33F6C}" srcOrd="1" destOrd="0" presId="urn:microsoft.com/office/officeart/2008/layout/LinedList"/>
    <dgm:cxn modelId="{4CE23C44-589C-7B44-8E29-B3D359F903A0}" type="presParOf" srcId="{D208D49B-5B0F-1F41-975C-C3E2D8C4F353}" destId="{573AC19B-20BF-CD49-8205-2F2527882EE1}" srcOrd="4" destOrd="0" presId="urn:microsoft.com/office/officeart/2008/layout/LinedList"/>
    <dgm:cxn modelId="{D80AC4DB-F126-084C-B69D-2A3B020C49C8}" type="presParOf" srcId="{D208D49B-5B0F-1F41-975C-C3E2D8C4F353}" destId="{1CD4470D-5B92-9A4B-8B44-5365C8090CE9}" srcOrd="5" destOrd="0" presId="urn:microsoft.com/office/officeart/2008/layout/LinedList"/>
    <dgm:cxn modelId="{52751622-639D-F348-9CE2-0587BE50647E}" type="presParOf" srcId="{1CD4470D-5B92-9A4B-8B44-5365C8090CE9}" destId="{19182A02-EDEB-244B-92F2-86677F32CC55}" srcOrd="0" destOrd="0" presId="urn:microsoft.com/office/officeart/2008/layout/LinedList"/>
    <dgm:cxn modelId="{53DDEA17-3F17-8540-95DF-9154385F2401}" type="presParOf" srcId="{1CD4470D-5B92-9A4B-8B44-5365C8090CE9}" destId="{3F15B037-4E89-9B40-A6D5-18FC2A087886}" srcOrd="1" destOrd="0" presId="urn:microsoft.com/office/officeart/2008/layout/LinedList"/>
    <dgm:cxn modelId="{AC576EB0-3CF7-8F4A-8529-D0EA7DB3D52E}" type="presParOf" srcId="{D208D49B-5B0F-1F41-975C-C3E2D8C4F353}" destId="{A5D800F9-EB9D-E749-B109-444C9F53E057}" srcOrd="6" destOrd="0" presId="urn:microsoft.com/office/officeart/2008/layout/LinedList"/>
    <dgm:cxn modelId="{F09B6965-600C-3B4F-A0A0-51CD10E10BBA}" type="presParOf" srcId="{D208D49B-5B0F-1F41-975C-C3E2D8C4F353}" destId="{36368DDA-2235-F44A-A111-DE1CC14D2E91}" srcOrd="7" destOrd="0" presId="urn:microsoft.com/office/officeart/2008/layout/LinedList"/>
    <dgm:cxn modelId="{6D5136B6-9059-A840-B73E-A9F917A611D6}" type="presParOf" srcId="{36368DDA-2235-F44A-A111-DE1CC14D2E91}" destId="{FCA1835C-336E-3244-940B-8D4A6933F5D3}" srcOrd="0" destOrd="0" presId="urn:microsoft.com/office/officeart/2008/layout/LinedList"/>
    <dgm:cxn modelId="{D46DA238-BC05-EF44-8576-A105808A3ED5}" type="presParOf" srcId="{36368DDA-2235-F44A-A111-DE1CC14D2E91}" destId="{5CCBCB45-2EEF-D046-951F-ACD6F322FCDD}"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44025C-15AA-4CE6-B7AE-A06E7ECE8689}"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14CE5E72-BD7B-4365-86AE-AF35DB5F59AC}">
      <dgm:prSet/>
      <dgm:spPr/>
      <dgm:t>
        <a:bodyPr/>
        <a:lstStyle/>
        <a:p>
          <a:pPr>
            <a:lnSpc>
              <a:spcPct val="100000"/>
            </a:lnSpc>
          </a:pPr>
          <a:r>
            <a:rPr lang="en-US"/>
            <a:t>Identify resource needs</a:t>
          </a:r>
        </a:p>
      </dgm:t>
    </dgm:pt>
    <dgm:pt modelId="{2F75809B-233D-49EA-8D66-119C0988D5AB}" type="parTrans" cxnId="{69D02A8B-3634-4270-A10F-FCC489ECF3FC}">
      <dgm:prSet/>
      <dgm:spPr/>
      <dgm:t>
        <a:bodyPr/>
        <a:lstStyle/>
        <a:p>
          <a:endParaRPr lang="en-US"/>
        </a:p>
      </dgm:t>
    </dgm:pt>
    <dgm:pt modelId="{5398444C-6AD0-407E-A3B0-1B2A29164C12}" type="sibTrans" cxnId="{69D02A8B-3634-4270-A10F-FCC489ECF3FC}">
      <dgm:prSet/>
      <dgm:spPr/>
      <dgm:t>
        <a:bodyPr/>
        <a:lstStyle/>
        <a:p>
          <a:endParaRPr lang="en-US"/>
        </a:p>
      </dgm:t>
    </dgm:pt>
    <dgm:pt modelId="{ED6EC528-61F7-4DE0-A63D-8139AA32A1F9}">
      <dgm:prSet/>
      <dgm:spPr/>
      <dgm:t>
        <a:bodyPr/>
        <a:lstStyle/>
        <a:p>
          <a:pPr>
            <a:lnSpc>
              <a:spcPct val="100000"/>
            </a:lnSpc>
          </a:pPr>
          <a:r>
            <a:rPr lang="en-US"/>
            <a:t>Identify funding gaps</a:t>
          </a:r>
        </a:p>
      </dgm:t>
    </dgm:pt>
    <dgm:pt modelId="{BBFA58B5-884B-4AD6-8EE5-6E1131F19A0F}" type="parTrans" cxnId="{0153F2CD-4AAC-4069-AB39-BB838DF64C41}">
      <dgm:prSet/>
      <dgm:spPr/>
      <dgm:t>
        <a:bodyPr/>
        <a:lstStyle/>
        <a:p>
          <a:endParaRPr lang="en-US"/>
        </a:p>
      </dgm:t>
    </dgm:pt>
    <dgm:pt modelId="{4B0871AC-001F-4A77-B32C-BF1A12BCAAFB}" type="sibTrans" cxnId="{0153F2CD-4AAC-4069-AB39-BB838DF64C41}">
      <dgm:prSet/>
      <dgm:spPr/>
      <dgm:t>
        <a:bodyPr/>
        <a:lstStyle/>
        <a:p>
          <a:endParaRPr lang="en-US"/>
        </a:p>
      </dgm:t>
    </dgm:pt>
    <dgm:pt modelId="{4AFD6F33-3DE4-4C9B-8A3B-E7CD4D2952B1}">
      <dgm:prSet/>
      <dgm:spPr/>
      <dgm:t>
        <a:bodyPr/>
        <a:lstStyle/>
        <a:p>
          <a:pPr>
            <a:lnSpc>
              <a:spcPct val="100000"/>
            </a:lnSpc>
          </a:pPr>
          <a:r>
            <a:rPr lang="en-US"/>
            <a:t>Develop funding strategies</a:t>
          </a:r>
        </a:p>
      </dgm:t>
    </dgm:pt>
    <dgm:pt modelId="{5475FBA6-1013-4061-92A5-4BCE16CF3CD3}" type="parTrans" cxnId="{28BDABA8-5DC6-4DB2-8CD8-83F6D84D5B41}">
      <dgm:prSet/>
      <dgm:spPr/>
      <dgm:t>
        <a:bodyPr/>
        <a:lstStyle/>
        <a:p>
          <a:endParaRPr lang="en-US"/>
        </a:p>
      </dgm:t>
    </dgm:pt>
    <dgm:pt modelId="{167E16EB-6039-4D5B-947A-377448A630EE}" type="sibTrans" cxnId="{28BDABA8-5DC6-4DB2-8CD8-83F6D84D5B41}">
      <dgm:prSet/>
      <dgm:spPr/>
      <dgm:t>
        <a:bodyPr/>
        <a:lstStyle/>
        <a:p>
          <a:endParaRPr lang="en-US"/>
        </a:p>
      </dgm:t>
    </dgm:pt>
    <dgm:pt modelId="{47D08ED1-1293-4BA7-9269-022C082790EB}" type="pres">
      <dgm:prSet presAssocID="{AA44025C-15AA-4CE6-B7AE-A06E7ECE8689}" presName="root" presStyleCnt="0">
        <dgm:presLayoutVars>
          <dgm:dir/>
          <dgm:resizeHandles val="exact"/>
        </dgm:presLayoutVars>
      </dgm:prSet>
      <dgm:spPr/>
    </dgm:pt>
    <dgm:pt modelId="{396E3678-6AAD-4D01-BE64-E4D51611B10F}" type="pres">
      <dgm:prSet presAssocID="{14CE5E72-BD7B-4365-86AE-AF35DB5F59AC}" presName="compNode" presStyleCnt="0"/>
      <dgm:spPr/>
    </dgm:pt>
    <dgm:pt modelId="{5671639F-E8FF-4473-B237-6E64B3159168}" type="pres">
      <dgm:prSet presAssocID="{14CE5E72-BD7B-4365-86AE-AF35DB5F59AC}"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Users"/>
        </a:ext>
      </dgm:extLst>
    </dgm:pt>
    <dgm:pt modelId="{FEF0FF06-7EC7-4450-BFE4-2F7B821E9B25}" type="pres">
      <dgm:prSet presAssocID="{14CE5E72-BD7B-4365-86AE-AF35DB5F59AC}" presName="spaceRect" presStyleCnt="0"/>
      <dgm:spPr/>
    </dgm:pt>
    <dgm:pt modelId="{14B8628E-BAF8-4F0F-9F64-5B2562B19BB5}" type="pres">
      <dgm:prSet presAssocID="{14CE5E72-BD7B-4365-86AE-AF35DB5F59AC}" presName="textRect" presStyleLbl="revTx" presStyleIdx="0" presStyleCnt="3">
        <dgm:presLayoutVars>
          <dgm:chMax val="1"/>
          <dgm:chPref val="1"/>
        </dgm:presLayoutVars>
      </dgm:prSet>
      <dgm:spPr/>
    </dgm:pt>
    <dgm:pt modelId="{C09A0413-78A3-46D7-B65A-DEEECEBD3519}" type="pres">
      <dgm:prSet presAssocID="{5398444C-6AD0-407E-A3B0-1B2A29164C12}" presName="sibTrans" presStyleCnt="0"/>
      <dgm:spPr/>
    </dgm:pt>
    <dgm:pt modelId="{002F348A-2322-455E-BB76-3325EC9C2382}" type="pres">
      <dgm:prSet presAssocID="{ED6EC528-61F7-4DE0-A63D-8139AA32A1F9}" presName="compNode" presStyleCnt="0"/>
      <dgm:spPr/>
    </dgm:pt>
    <dgm:pt modelId="{2F8774F1-AB1A-42B1-B5E9-4F05624D800D}" type="pres">
      <dgm:prSet presAssocID="{ED6EC528-61F7-4DE0-A63D-8139AA32A1F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oney"/>
        </a:ext>
      </dgm:extLst>
    </dgm:pt>
    <dgm:pt modelId="{B04B949E-12AC-49EC-A2C7-49E57840F7E6}" type="pres">
      <dgm:prSet presAssocID="{ED6EC528-61F7-4DE0-A63D-8139AA32A1F9}" presName="spaceRect" presStyleCnt="0"/>
      <dgm:spPr/>
    </dgm:pt>
    <dgm:pt modelId="{7A80D095-29E4-4400-8A02-A33D9DFB284E}" type="pres">
      <dgm:prSet presAssocID="{ED6EC528-61F7-4DE0-A63D-8139AA32A1F9}" presName="textRect" presStyleLbl="revTx" presStyleIdx="1" presStyleCnt="3">
        <dgm:presLayoutVars>
          <dgm:chMax val="1"/>
          <dgm:chPref val="1"/>
        </dgm:presLayoutVars>
      </dgm:prSet>
      <dgm:spPr/>
    </dgm:pt>
    <dgm:pt modelId="{26CF9089-A516-46B2-898A-275D716A175C}" type="pres">
      <dgm:prSet presAssocID="{4B0871AC-001F-4A77-B32C-BF1A12BCAAFB}" presName="sibTrans" presStyleCnt="0"/>
      <dgm:spPr/>
    </dgm:pt>
    <dgm:pt modelId="{A1715250-C9AB-4FAA-87B0-908BFFB9BDF6}" type="pres">
      <dgm:prSet presAssocID="{4AFD6F33-3DE4-4C9B-8A3B-E7CD4D2952B1}" presName="compNode" presStyleCnt="0"/>
      <dgm:spPr/>
    </dgm:pt>
    <dgm:pt modelId="{FFA54B5E-D390-4F82-9D2E-C90DA2A59A1C}" type="pres">
      <dgm:prSet presAssocID="{4AFD6F33-3DE4-4C9B-8A3B-E7CD4D2952B1}"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oins"/>
        </a:ext>
      </dgm:extLst>
    </dgm:pt>
    <dgm:pt modelId="{91948DDB-4283-45FA-8E37-33370FFDCC50}" type="pres">
      <dgm:prSet presAssocID="{4AFD6F33-3DE4-4C9B-8A3B-E7CD4D2952B1}" presName="spaceRect" presStyleCnt="0"/>
      <dgm:spPr/>
    </dgm:pt>
    <dgm:pt modelId="{BEB021AF-9ABE-4B1C-B741-9F9B91268ED5}" type="pres">
      <dgm:prSet presAssocID="{4AFD6F33-3DE4-4C9B-8A3B-E7CD4D2952B1}" presName="textRect" presStyleLbl="revTx" presStyleIdx="2" presStyleCnt="3">
        <dgm:presLayoutVars>
          <dgm:chMax val="1"/>
          <dgm:chPref val="1"/>
        </dgm:presLayoutVars>
      </dgm:prSet>
      <dgm:spPr/>
    </dgm:pt>
  </dgm:ptLst>
  <dgm:cxnLst>
    <dgm:cxn modelId="{CDCB326E-C9F5-4936-924F-E3AC1A4E367B}" type="presOf" srcId="{AA44025C-15AA-4CE6-B7AE-A06E7ECE8689}" destId="{47D08ED1-1293-4BA7-9269-022C082790EB}" srcOrd="0" destOrd="0" presId="urn:microsoft.com/office/officeart/2018/2/layout/IconLabelList"/>
    <dgm:cxn modelId="{40974A7F-AEEE-43C3-8A11-2D88F7639560}" type="presOf" srcId="{ED6EC528-61F7-4DE0-A63D-8139AA32A1F9}" destId="{7A80D095-29E4-4400-8A02-A33D9DFB284E}" srcOrd="0" destOrd="0" presId="urn:microsoft.com/office/officeart/2018/2/layout/IconLabelList"/>
    <dgm:cxn modelId="{69D02A8B-3634-4270-A10F-FCC489ECF3FC}" srcId="{AA44025C-15AA-4CE6-B7AE-A06E7ECE8689}" destId="{14CE5E72-BD7B-4365-86AE-AF35DB5F59AC}" srcOrd="0" destOrd="0" parTransId="{2F75809B-233D-49EA-8D66-119C0988D5AB}" sibTransId="{5398444C-6AD0-407E-A3B0-1B2A29164C12}"/>
    <dgm:cxn modelId="{5C84B9A0-8E4E-4A09-8D68-E5DFC06B1CB2}" type="presOf" srcId="{4AFD6F33-3DE4-4C9B-8A3B-E7CD4D2952B1}" destId="{BEB021AF-9ABE-4B1C-B741-9F9B91268ED5}" srcOrd="0" destOrd="0" presId="urn:microsoft.com/office/officeart/2018/2/layout/IconLabelList"/>
    <dgm:cxn modelId="{28BDABA8-5DC6-4DB2-8CD8-83F6D84D5B41}" srcId="{AA44025C-15AA-4CE6-B7AE-A06E7ECE8689}" destId="{4AFD6F33-3DE4-4C9B-8A3B-E7CD4D2952B1}" srcOrd="2" destOrd="0" parTransId="{5475FBA6-1013-4061-92A5-4BCE16CF3CD3}" sibTransId="{167E16EB-6039-4D5B-947A-377448A630EE}"/>
    <dgm:cxn modelId="{0153F2CD-4AAC-4069-AB39-BB838DF64C41}" srcId="{AA44025C-15AA-4CE6-B7AE-A06E7ECE8689}" destId="{ED6EC528-61F7-4DE0-A63D-8139AA32A1F9}" srcOrd="1" destOrd="0" parTransId="{BBFA58B5-884B-4AD6-8EE5-6E1131F19A0F}" sibTransId="{4B0871AC-001F-4A77-B32C-BF1A12BCAAFB}"/>
    <dgm:cxn modelId="{F27A79D8-A21A-4832-B40B-B54F41E4B817}" type="presOf" srcId="{14CE5E72-BD7B-4365-86AE-AF35DB5F59AC}" destId="{14B8628E-BAF8-4F0F-9F64-5B2562B19BB5}" srcOrd="0" destOrd="0" presId="urn:microsoft.com/office/officeart/2018/2/layout/IconLabelList"/>
    <dgm:cxn modelId="{8D0878AB-532A-4660-A0E1-660434D58333}" type="presParOf" srcId="{47D08ED1-1293-4BA7-9269-022C082790EB}" destId="{396E3678-6AAD-4D01-BE64-E4D51611B10F}" srcOrd="0" destOrd="0" presId="urn:microsoft.com/office/officeart/2018/2/layout/IconLabelList"/>
    <dgm:cxn modelId="{B5E98B3D-FAF5-4F44-A121-A91F5F10EFAE}" type="presParOf" srcId="{396E3678-6AAD-4D01-BE64-E4D51611B10F}" destId="{5671639F-E8FF-4473-B237-6E64B3159168}" srcOrd="0" destOrd="0" presId="urn:microsoft.com/office/officeart/2018/2/layout/IconLabelList"/>
    <dgm:cxn modelId="{3CC139E1-3D76-46A1-8A23-C13829DDF474}" type="presParOf" srcId="{396E3678-6AAD-4D01-BE64-E4D51611B10F}" destId="{FEF0FF06-7EC7-4450-BFE4-2F7B821E9B25}" srcOrd="1" destOrd="0" presId="urn:microsoft.com/office/officeart/2018/2/layout/IconLabelList"/>
    <dgm:cxn modelId="{2E2B57CC-F08A-4DA7-A6BD-17B8A72D984A}" type="presParOf" srcId="{396E3678-6AAD-4D01-BE64-E4D51611B10F}" destId="{14B8628E-BAF8-4F0F-9F64-5B2562B19BB5}" srcOrd="2" destOrd="0" presId="urn:microsoft.com/office/officeart/2018/2/layout/IconLabelList"/>
    <dgm:cxn modelId="{D73E5474-7CD2-4C80-9692-B6C487F7E6D9}" type="presParOf" srcId="{47D08ED1-1293-4BA7-9269-022C082790EB}" destId="{C09A0413-78A3-46D7-B65A-DEEECEBD3519}" srcOrd="1" destOrd="0" presId="urn:microsoft.com/office/officeart/2018/2/layout/IconLabelList"/>
    <dgm:cxn modelId="{914D6249-799B-4A82-8AFC-F1EDBAD5D0C2}" type="presParOf" srcId="{47D08ED1-1293-4BA7-9269-022C082790EB}" destId="{002F348A-2322-455E-BB76-3325EC9C2382}" srcOrd="2" destOrd="0" presId="urn:microsoft.com/office/officeart/2018/2/layout/IconLabelList"/>
    <dgm:cxn modelId="{A8AED5FD-7E61-4886-91E8-93B02AFB55C5}" type="presParOf" srcId="{002F348A-2322-455E-BB76-3325EC9C2382}" destId="{2F8774F1-AB1A-42B1-B5E9-4F05624D800D}" srcOrd="0" destOrd="0" presId="urn:microsoft.com/office/officeart/2018/2/layout/IconLabelList"/>
    <dgm:cxn modelId="{975A8063-9289-44DC-9BE8-F88FE5D24637}" type="presParOf" srcId="{002F348A-2322-455E-BB76-3325EC9C2382}" destId="{B04B949E-12AC-49EC-A2C7-49E57840F7E6}" srcOrd="1" destOrd="0" presId="urn:microsoft.com/office/officeart/2018/2/layout/IconLabelList"/>
    <dgm:cxn modelId="{026F391C-FC62-46CF-A06D-5FAB5DD335B9}" type="presParOf" srcId="{002F348A-2322-455E-BB76-3325EC9C2382}" destId="{7A80D095-29E4-4400-8A02-A33D9DFB284E}" srcOrd="2" destOrd="0" presId="urn:microsoft.com/office/officeart/2018/2/layout/IconLabelList"/>
    <dgm:cxn modelId="{91624282-E704-40DB-A403-6274F91343D7}" type="presParOf" srcId="{47D08ED1-1293-4BA7-9269-022C082790EB}" destId="{26CF9089-A516-46B2-898A-275D716A175C}" srcOrd="3" destOrd="0" presId="urn:microsoft.com/office/officeart/2018/2/layout/IconLabelList"/>
    <dgm:cxn modelId="{E04F60FA-BC82-4FEF-BCF7-DA7D8F761F50}" type="presParOf" srcId="{47D08ED1-1293-4BA7-9269-022C082790EB}" destId="{A1715250-C9AB-4FAA-87B0-908BFFB9BDF6}" srcOrd="4" destOrd="0" presId="urn:microsoft.com/office/officeart/2018/2/layout/IconLabelList"/>
    <dgm:cxn modelId="{042BBB01-8660-4D2A-88DB-2218C3A5AD39}" type="presParOf" srcId="{A1715250-C9AB-4FAA-87B0-908BFFB9BDF6}" destId="{FFA54B5E-D390-4F82-9D2E-C90DA2A59A1C}" srcOrd="0" destOrd="0" presId="urn:microsoft.com/office/officeart/2018/2/layout/IconLabelList"/>
    <dgm:cxn modelId="{6037B779-BD9A-4C49-A744-F995D397B8D4}" type="presParOf" srcId="{A1715250-C9AB-4FAA-87B0-908BFFB9BDF6}" destId="{91948DDB-4283-45FA-8E37-33370FFDCC50}" srcOrd="1" destOrd="0" presId="urn:microsoft.com/office/officeart/2018/2/layout/IconLabelList"/>
    <dgm:cxn modelId="{5436B113-A19E-437E-BFA4-4A3382C8FEB8}" type="presParOf" srcId="{A1715250-C9AB-4FAA-87B0-908BFFB9BDF6}" destId="{BEB021AF-9ABE-4B1C-B741-9F9B91268ED5}"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7C3D69A-4FFC-4C81-917B-2AA208E555A4}" type="doc">
      <dgm:prSet loTypeId="urn:microsoft.com/office/officeart/2005/8/layout/process4" loCatId="process" qsTypeId="urn:microsoft.com/office/officeart/2005/8/quickstyle/simple1" qsCatId="simple" csTypeId="urn:microsoft.com/office/officeart/2005/8/colors/colorful5" csCatId="colorful" phldr="1"/>
      <dgm:spPr/>
      <dgm:t>
        <a:bodyPr/>
        <a:lstStyle/>
        <a:p>
          <a:endParaRPr lang="en-US"/>
        </a:p>
      </dgm:t>
    </dgm:pt>
    <dgm:pt modelId="{DA8B5D36-F419-4018-9E72-4295A58D28E1}">
      <dgm:prSet custT="1"/>
      <dgm:spPr/>
      <dgm:t>
        <a:bodyPr/>
        <a:lstStyle/>
        <a:p>
          <a:pPr rtl="0"/>
          <a:endParaRPr lang="en-US" sz="3600" dirty="0"/>
        </a:p>
      </dgm:t>
    </dgm:pt>
    <dgm:pt modelId="{ACA0D81B-B409-433B-9872-071ADB8C2216}" type="parTrans" cxnId="{54FD0503-C7D8-4C6D-99A2-592D492E12F5}">
      <dgm:prSet/>
      <dgm:spPr/>
      <dgm:t>
        <a:bodyPr/>
        <a:lstStyle/>
        <a:p>
          <a:endParaRPr lang="en-US"/>
        </a:p>
      </dgm:t>
    </dgm:pt>
    <dgm:pt modelId="{00E9956E-5B3E-44AC-BCB5-7E7C92DB68BA}" type="sibTrans" cxnId="{54FD0503-C7D8-4C6D-99A2-592D492E12F5}">
      <dgm:prSet/>
      <dgm:spPr/>
      <dgm:t>
        <a:bodyPr/>
        <a:lstStyle/>
        <a:p>
          <a:endParaRPr lang="en-US"/>
        </a:p>
      </dgm:t>
    </dgm:pt>
    <dgm:pt modelId="{484AE53C-60BA-4B72-8104-CEB067A3A454}">
      <dgm:prSet custT="1"/>
      <dgm:spPr/>
      <dgm:t>
        <a:bodyPr/>
        <a:lstStyle/>
        <a:p>
          <a:r>
            <a:rPr lang="en-GB" sz="2800" b="0" i="0" dirty="0"/>
            <a:t>Developing a long-term national financing strategy for ASRH</a:t>
          </a:r>
          <a:endParaRPr lang="en-US" sz="2800" dirty="0"/>
        </a:p>
      </dgm:t>
    </dgm:pt>
    <dgm:pt modelId="{F2C1EB52-C078-4A59-8778-5F4AF50B4265}" type="parTrans" cxnId="{2C53B48E-E91C-4725-89D7-F45F0FC84ACC}">
      <dgm:prSet/>
      <dgm:spPr/>
      <dgm:t>
        <a:bodyPr/>
        <a:lstStyle/>
        <a:p>
          <a:endParaRPr lang="en-US"/>
        </a:p>
      </dgm:t>
    </dgm:pt>
    <dgm:pt modelId="{44CE1B2C-AB36-494B-8B6F-189E87761080}" type="sibTrans" cxnId="{2C53B48E-E91C-4725-89D7-F45F0FC84ACC}">
      <dgm:prSet/>
      <dgm:spPr/>
      <dgm:t>
        <a:bodyPr/>
        <a:lstStyle/>
        <a:p>
          <a:endParaRPr lang="en-US"/>
        </a:p>
      </dgm:t>
    </dgm:pt>
    <dgm:pt modelId="{5765BF23-EC63-4CE1-BA22-0EF51BF1772E}">
      <dgm:prSet custT="1"/>
      <dgm:spPr/>
      <dgm:t>
        <a:bodyPr/>
        <a:lstStyle/>
        <a:p>
          <a:r>
            <a:rPr lang="en-GB" sz="2800" dirty="0"/>
            <a:t>C</a:t>
          </a:r>
          <a:r>
            <a:rPr lang="en-GB" sz="2800" b="0" i="0" dirty="0"/>
            <a:t>o-creating interventions with beneficiaries to reduce costs and increase ownership</a:t>
          </a:r>
          <a:endParaRPr lang="en-US" sz="2800" dirty="0"/>
        </a:p>
      </dgm:t>
    </dgm:pt>
    <dgm:pt modelId="{8CE3C9A6-70BA-408D-9E20-3E18DCCFE1BB}" type="parTrans" cxnId="{075303E8-9F6C-439B-9EC6-ADD09F2116AE}">
      <dgm:prSet/>
      <dgm:spPr/>
      <dgm:t>
        <a:bodyPr/>
        <a:lstStyle/>
        <a:p>
          <a:endParaRPr lang="en-US"/>
        </a:p>
      </dgm:t>
    </dgm:pt>
    <dgm:pt modelId="{896B1ED9-7C93-4487-84D8-BCFA2F302750}" type="sibTrans" cxnId="{075303E8-9F6C-439B-9EC6-ADD09F2116AE}">
      <dgm:prSet/>
      <dgm:spPr/>
      <dgm:t>
        <a:bodyPr/>
        <a:lstStyle/>
        <a:p>
          <a:endParaRPr lang="en-US"/>
        </a:p>
      </dgm:t>
    </dgm:pt>
    <dgm:pt modelId="{9471D734-9C36-42B1-B903-0B7B6359BC5F}">
      <dgm:prSet custT="1"/>
      <dgm:spPr/>
      <dgm:t>
        <a:bodyPr/>
        <a:lstStyle/>
        <a:p>
          <a:r>
            <a:rPr lang="en-GB" sz="2800" dirty="0"/>
            <a:t>C</a:t>
          </a:r>
          <a:r>
            <a:rPr lang="en-GB" sz="2800" b="0" i="0" dirty="0"/>
            <a:t>onducting comprehensive cost-benefit evaluations to attract investment</a:t>
          </a:r>
          <a:endParaRPr lang="en-US" sz="2800" dirty="0"/>
        </a:p>
      </dgm:t>
    </dgm:pt>
    <dgm:pt modelId="{886FDBE5-0E8F-478F-B7DE-8308C52837A5}" type="parTrans" cxnId="{77948F8E-C00F-4E4A-9FFE-E1AB601FE8C4}">
      <dgm:prSet/>
      <dgm:spPr/>
      <dgm:t>
        <a:bodyPr/>
        <a:lstStyle/>
        <a:p>
          <a:endParaRPr lang="en-US"/>
        </a:p>
      </dgm:t>
    </dgm:pt>
    <dgm:pt modelId="{49582772-9466-42FB-A5F6-DC1E407A1A08}" type="sibTrans" cxnId="{77948F8E-C00F-4E4A-9FFE-E1AB601FE8C4}">
      <dgm:prSet/>
      <dgm:spPr/>
      <dgm:t>
        <a:bodyPr/>
        <a:lstStyle/>
        <a:p>
          <a:endParaRPr lang="en-US"/>
        </a:p>
      </dgm:t>
    </dgm:pt>
    <dgm:pt modelId="{4DC3F281-454D-4D36-B04C-5A95973E282C}">
      <dgm:prSet custT="1"/>
      <dgm:spPr/>
      <dgm:t>
        <a:bodyPr/>
        <a:lstStyle/>
        <a:p>
          <a:r>
            <a:rPr lang="en-GB" sz="2800" dirty="0"/>
            <a:t>F</a:t>
          </a:r>
          <a:r>
            <a:rPr lang="en-GB" sz="2800" b="0" i="0" dirty="0"/>
            <a:t>ocusing on preventive interventions delivered digitally to bridge the funding gap. </a:t>
          </a:r>
          <a:endParaRPr lang="en-US" sz="2800" dirty="0"/>
        </a:p>
      </dgm:t>
    </dgm:pt>
    <dgm:pt modelId="{4310CEB5-EF82-405B-B3B7-1EE4CA9260AD}" type="parTrans" cxnId="{C567A21D-0529-4E18-ACC2-2A349A3A5ADB}">
      <dgm:prSet/>
      <dgm:spPr/>
      <dgm:t>
        <a:bodyPr/>
        <a:lstStyle/>
        <a:p>
          <a:endParaRPr lang="en-US"/>
        </a:p>
      </dgm:t>
    </dgm:pt>
    <dgm:pt modelId="{208E1FBA-2272-4EFF-80CD-8FEBC8699224}" type="sibTrans" cxnId="{C567A21D-0529-4E18-ACC2-2A349A3A5ADB}">
      <dgm:prSet/>
      <dgm:spPr/>
      <dgm:t>
        <a:bodyPr/>
        <a:lstStyle/>
        <a:p>
          <a:endParaRPr lang="en-US"/>
        </a:p>
      </dgm:t>
    </dgm:pt>
    <dgm:pt modelId="{19F9C329-F342-5A4F-BBCF-94E422F543FE}" type="pres">
      <dgm:prSet presAssocID="{77C3D69A-4FFC-4C81-917B-2AA208E555A4}" presName="Name0" presStyleCnt="0">
        <dgm:presLayoutVars>
          <dgm:dir/>
          <dgm:animLvl val="lvl"/>
          <dgm:resizeHandles val="exact"/>
        </dgm:presLayoutVars>
      </dgm:prSet>
      <dgm:spPr/>
    </dgm:pt>
    <dgm:pt modelId="{330AEC25-435C-654B-87A5-A47201DC6FDC}" type="pres">
      <dgm:prSet presAssocID="{DA8B5D36-F419-4018-9E72-4295A58D28E1}" presName="boxAndChildren" presStyleCnt="0"/>
      <dgm:spPr/>
    </dgm:pt>
    <dgm:pt modelId="{8D395717-38CF-9744-8304-883B1A60C5E4}" type="pres">
      <dgm:prSet presAssocID="{DA8B5D36-F419-4018-9E72-4295A58D28E1}" presName="parentTextBox" presStyleLbl="node1" presStyleIdx="0" presStyleCnt="1"/>
      <dgm:spPr/>
    </dgm:pt>
    <dgm:pt modelId="{C1035D7B-A808-8044-9C49-D412EECB10A9}" type="pres">
      <dgm:prSet presAssocID="{DA8B5D36-F419-4018-9E72-4295A58D28E1}" presName="entireBox" presStyleLbl="node1" presStyleIdx="0" presStyleCnt="1"/>
      <dgm:spPr/>
    </dgm:pt>
    <dgm:pt modelId="{6D53F29C-9891-8143-A4A8-5D3536E64E94}" type="pres">
      <dgm:prSet presAssocID="{DA8B5D36-F419-4018-9E72-4295A58D28E1}" presName="descendantBox" presStyleCnt="0"/>
      <dgm:spPr/>
    </dgm:pt>
    <dgm:pt modelId="{47F98240-DA66-1B41-9797-695015A37CC8}" type="pres">
      <dgm:prSet presAssocID="{484AE53C-60BA-4B72-8104-CEB067A3A454}" presName="childTextBox" presStyleLbl="fgAccFollowNode1" presStyleIdx="0" presStyleCnt="4">
        <dgm:presLayoutVars>
          <dgm:bulletEnabled val="1"/>
        </dgm:presLayoutVars>
      </dgm:prSet>
      <dgm:spPr/>
    </dgm:pt>
    <dgm:pt modelId="{6FCDE8C6-2C57-8843-B021-C9D28BF6E47F}" type="pres">
      <dgm:prSet presAssocID="{5765BF23-EC63-4CE1-BA22-0EF51BF1772E}" presName="childTextBox" presStyleLbl="fgAccFollowNode1" presStyleIdx="1" presStyleCnt="4">
        <dgm:presLayoutVars>
          <dgm:bulletEnabled val="1"/>
        </dgm:presLayoutVars>
      </dgm:prSet>
      <dgm:spPr/>
    </dgm:pt>
    <dgm:pt modelId="{58F3AE01-55B6-624D-A90F-D02620EE9B96}" type="pres">
      <dgm:prSet presAssocID="{9471D734-9C36-42B1-B903-0B7B6359BC5F}" presName="childTextBox" presStyleLbl="fgAccFollowNode1" presStyleIdx="2" presStyleCnt="4">
        <dgm:presLayoutVars>
          <dgm:bulletEnabled val="1"/>
        </dgm:presLayoutVars>
      </dgm:prSet>
      <dgm:spPr/>
    </dgm:pt>
    <dgm:pt modelId="{92F01A3E-8D45-CD49-8A77-92325EF56E51}" type="pres">
      <dgm:prSet presAssocID="{4DC3F281-454D-4D36-B04C-5A95973E282C}" presName="childTextBox" presStyleLbl="fgAccFollowNode1" presStyleIdx="3" presStyleCnt="4">
        <dgm:presLayoutVars>
          <dgm:bulletEnabled val="1"/>
        </dgm:presLayoutVars>
      </dgm:prSet>
      <dgm:spPr/>
    </dgm:pt>
  </dgm:ptLst>
  <dgm:cxnLst>
    <dgm:cxn modelId="{54FD0503-C7D8-4C6D-99A2-592D492E12F5}" srcId="{77C3D69A-4FFC-4C81-917B-2AA208E555A4}" destId="{DA8B5D36-F419-4018-9E72-4295A58D28E1}" srcOrd="0" destOrd="0" parTransId="{ACA0D81B-B409-433B-9872-071ADB8C2216}" sibTransId="{00E9956E-5B3E-44AC-BCB5-7E7C92DB68BA}"/>
    <dgm:cxn modelId="{C567A21D-0529-4E18-ACC2-2A349A3A5ADB}" srcId="{DA8B5D36-F419-4018-9E72-4295A58D28E1}" destId="{4DC3F281-454D-4D36-B04C-5A95973E282C}" srcOrd="3" destOrd="0" parTransId="{4310CEB5-EF82-405B-B3B7-1EE4CA9260AD}" sibTransId="{208E1FBA-2272-4EFF-80CD-8FEBC8699224}"/>
    <dgm:cxn modelId="{FFB95221-45E0-FE40-B785-4B0220AA04AB}" type="presOf" srcId="{77C3D69A-4FFC-4C81-917B-2AA208E555A4}" destId="{19F9C329-F342-5A4F-BBCF-94E422F543FE}" srcOrd="0" destOrd="0" presId="urn:microsoft.com/office/officeart/2005/8/layout/process4"/>
    <dgm:cxn modelId="{075E644B-6AD7-D548-AB6D-2C4BFFAC952E}" type="presOf" srcId="{484AE53C-60BA-4B72-8104-CEB067A3A454}" destId="{47F98240-DA66-1B41-9797-695015A37CC8}" srcOrd="0" destOrd="0" presId="urn:microsoft.com/office/officeart/2005/8/layout/process4"/>
    <dgm:cxn modelId="{2AE63065-CF14-DD43-82D1-4175CFA27711}" type="presOf" srcId="{DA8B5D36-F419-4018-9E72-4295A58D28E1}" destId="{C1035D7B-A808-8044-9C49-D412EECB10A9}" srcOrd="1" destOrd="0" presId="urn:microsoft.com/office/officeart/2005/8/layout/process4"/>
    <dgm:cxn modelId="{FDE37F72-CC3B-8D44-8ECE-B8DAAE2BB829}" type="presOf" srcId="{4DC3F281-454D-4D36-B04C-5A95973E282C}" destId="{92F01A3E-8D45-CD49-8A77-92325EF56E51}" srcOrd="0" destOrd="0" presId="urn:microsoft.com/office/officeart/2005/8/layout/process4"/>
    <dgm:cxn modelId="{392FC57D-797F-FA47-AE49-7FD692237F1F}" type="presOf" srcId="{DA8B5D36-F419-4018-9E72-4295A58D28E1}" destId="{8D395717-38CF-9744-8304-883B1A60C5E4}" srcOrd="0" destOrd="0" presId="urn:microsoft.com/office/officeart/2005/8/layout/process4"/>
    <dgm:cxn modelId="{77948F8E-C00F-4E4A-9FFE-E1AB601FE8C4}" srcId="{DA8B5D36-F419-4018-9E72-4295A58D28E1}" destId="{9471D734-9C36-42B1-B903-0B7B6359BC5F}" srcOrd="2" destOrd="0" parTransId="{886FDBE5-0E8F-478F-B7DE-8308C52837A5}" sibTransId="{49582772-9466-42FB-A5F6-DC1E407A1A08}"/>
    <dgm:cxn modelId="{2C53B48E-E91C-4725-89D7-F45F0FC84ACC}" srcId="{DA8B5D36-F419-4018-9E72-4295A58D28E1}" destId="{484AE53C-60BA-4B72-8104-CEB067A3A454}" srcOrd="0" destOrd="0" parTransId="{F2C1EB52-C078-4A59-8778-5F4AF50B4265}" sibTransId="{44CE1B2C-AB36-494B-8B6F-189E87761080}"/>
    <dgm:cxn modelId="{481AC0B5-A625-DA4D-BEBB-E16D0622AAA1}" type="presOf" srcId="{5765BF23-EC63-4CE1-BA22-0EF51BF1772E}" destId="{6FCDE8C6-2C57-8843-B021-C9D28BF6E47F}" srcOrd="0" destOrd="0" presId="urn:microsoft.com/office/officeart/2005/8/layout/process4"/>
    <dgm:cxn modelId="{1B07E9C1-4DD5-2A42-8B95-248F20242957}" type="presOf" srcId="{9471D734-9C36-42B1-B903-0B7B6359BC5F}" destId="{58F3AE01-55B6-624D-A90F-D02620EE9B96}" srcOrd="0" destOrd="0" presId="urn:microsoft.com/office/officeart/2005/8/layout/process4"/>
    <dgm:cxn modelId="{075303E8-9F6C-439B-9EC6-ADD09F2116AE}" srcId="{DA8B5D36-F419-4018-9E72-4295A58D28E1}" destId="{5765BF23-EC63-4CE1-BA22-0EF51BF1772E}" srcOrd="1" destOrd="0" parTransId="{8CE3C9A6-70BA-408D-9E20-3E18DCCFE1BB}" sibTransId="{896B1ED9-7C93-4487-84D8-BCFA2F302750}"/>
    <dgm:cxn modelId="{BB10EEC0-BE18-E84E-A178-3B9CA7838C33}" type="presParOf" srcId="{19F9C329-F342-5A4F-BBCF-94E422F543FE}" destId="{330AEC25-435C-654B-87A5-A47201DC6FDC}" srcOrd="0" destOrd="0" presId="urn:microsoft.com/office/officeart/2005/8/layout/process4"/>
    <dgm:cxn modelId="{FB5F548B-CB78-B14E-BB51-84B046A8ACE1}" type="presParOf" srcId="{330AEC25-435C-654B-87A5-A47201DC6FDC}" destId="{8D395717-38CF-9744-8304-883B1A60C5E4}" srcOrd="0" destOrd="0" presId="urn:microsoft.com/office/officeart/2005/8/layout/process4"/>
    <dgm:cxn modelId="{122D0AE7-24C2-6F41-8F48-4ED7574347FB}" type="presParOf" srcId="{330AEC25-435C-654B-87A5-A47201DC6FDC}" destId="{C1035D7B-A808-8044-9C49-D412EECB10A9}" srcOrd="1" destOrd="0" presId="urn:microsoft.com/office/officeart/2005/8/layout/process4"/>
    <dgm:cxn modelId="{962BFA6A-7416-0B4C-9EFA-DC4BCA84AE1D}" type="presParOf" srcId="{330AEC25-435C-654B-87A5-A47201DC6FDC}" destId="{6D53F29C-9891-8143-A4A8-5D3536E64E94}" srcOrd="2" destOrd="0" presId="urn:microsoft.com/office/officeart/2005/8/layout/process4"/>
    <dgm:cxn modelId="{0FACAF0A-F287-6D4C-9E1B-45EDB413FCA4}" type="presParOf" srcId="{6D53F29C-9891-8143-A4A8-5D3536E64E94}" destId="{47F98240-DA66-1B41-9797-695015A37CC8}" srcOrd="0" destOrd="0" presId="urn:microsoft.com/office/officeart/2005/8/layout/process4"/>
    <dgm:cxn modelId="{BDBC6D0E-656B-284B-8118-DF1E155759BC}" type="presParOf" srcId="{6D53F29C-9891-8143-A4A8-5D3536E64E94}" destId="{6FCDE8C6-2C57-8843-B021-C9D28BF6E47F}" srcOrd="1" destOrd="0" presId="urn:microsoft.com/office/officeart/2005/8/layout/process4"/>
    <dgm:cxn modelId="{71B18067-FB0A-E34B-BE01-2C1667B0F893}" type="presParOf" srcId="{6D53F29C-9891-8143-A4A8-5D3536E64E94}" destId="{58F3AE01-55B6-624D-A90F-D02620EE9B96}" srcOrd="2" destOrd="0" presId="urn:microsoft.com/office/officeart/2005/8/layout/process4"/>
    <dgm:cxn modelId="{5A2EA2FB-C520-674F-8866-04E435445F90}" type="presParOf" srcId="{6D53F29C-9891-8143-A4A8-5D3536E64E94}" destId="{92F01A3E-8D45-CD49-8A77-92325EF56E51}" srcOrd="3"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9FE002-9658-4118-B136-46662DE51FB5}">
      <dsp:nvSpPr>
        <dsp:cNvPr id="0" name=""/>
        <dsp:cNvSpPr/>
      </dsp:nvSpPr>
      <dsp:spPr>
        <a:xfrm>
          <a:off x="1272" y="15315"/>
          <a:ext cx="3320530" cy="2592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1</a:t>
          </a:r>
        </a:p>
      </dsp:txBody>
      <dsp:txXfrm>
        <a:off x="1272" y="15315"/>
        <a:ext cx="3320530" cy="259200"/>
      </dsp:txXfrm>
    </dsp:sp>
    <dsp:sp modelId="{46B2A294-8DEB-431F-A450-EACABC99463C}">
      <dsp:nvSpPr>
        <dsp:cNvPr id="0" name=""/>
        <dsp:cNvSpPr/>
      </dsp:nvSpPr>
      <dsp:spPr>
        <a:xfrm>
          <a:off x="20201" y="274515"/>
          <a:ext cx="3282671" cy="1877579"/>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CA" sz="1600" b="0" kern="1200" dirty="0">
              <a:latin typeface="MS Reference Sans Serif" panose="020B0604030504040204" pitchFamily="34" charset="0"/>
              <a:ea typeface="Times New Roman" panose="02020603050405020304" pitchFamily="18" charset="0"/>
              <a:cs typeface="Courier New" panose="02070309020205020404" pitchFamily="49" charset="0"/>
            </a:rPr>
            <a:t>Target the overall country response </a:t>
          </a:r>
          <a:endParaRPr lang="en-US" sz="1600" b="0" kern="1200" dirty="0"/>
        </a:p>
        <a:p>
          <a:pPr marL="171450" lvl="1" indent="-171450" algn="l" defTabSz="711200">
            <a:lnSpc>
              <a:spcPct val="90000"/>
            </a:lnSpc>
            <a:spcBef>
              <a:spcPct val="0"/>
            </a:spcBef>
            <a:spcAft>
              <a:spcPct val="15000"/>
            </a:spcAft>
            <a:buChar char="•"/>
          </a:pPr>
          <a:endParaRPr lang="en-US" sz="1600" b="0" kern="1200" dirty="0"/>
        </a:p>
        <a:p>
          <a:pPr marL="171450" lvl="1" indent="-171450" algn="l" defTabSz="711200">
            <a:lnSpc>
              <a:spcPct val="90000"/>
            </a:lnSpc>
            <a:spcBef>
              <a:spcPct val="0"/>
            </a:spcBef>
            <a:spcAft>
              <a:spcPct val="15000"/>
            </a:spcAft>
            <a:buChar char="•"/>
          </a:pPr>
          <a:r>
            <a:rPr lang="en-CA" sz="1600" b="0" kern="1200" dirty="0">
              <a:latin typeface="MS Reference Sans Serif" panose="020B0604030504040204" pitchFamily="34" charset="0"/>
              <a:ea typeface="Times New Roman" panose="02020603050405020304" pitchFamily="18" charset="0"/>
              <a:cs typeface="Times New Roman" panose="02020603050405020304" pitchFamily="18" charset="0"/>
            </a:rPr>
            <a:t>Clear a</a:t>
          </a:r>
          <a:r>
            <a:rPr lang="en-CA" sz="1600" b="0" kern="1200" dirty="0">
              <a:latin typeface="MS Reference Sans Serif" panose="020B0604030504040204" pitchFamily="34" charset="0"/>
              <a:ea typeface="Times New Roman" panose="02020603050405020304" pitchFamily="18" charset="0"/>
              <a:cs typeface="Courier New" panose="02070309020205020404" pitchFamily="49" charset="0"/>
            </a:rPr>
            <a:t>lignment of interventions on the needs and priorities of adolescents</a:t>
          </a:r>
          <a:endParaRPr lang="en-US" sz="1600" b="0" kern="1200" dirty="0"/>
        </a:p>
      </dsp:txBody>
      <dsp:txXfrm>
        <a:off x="20201" y="274515"/>
        <a:ext cx="3282671" cy="1877579"/>
      </dsp:txXfrm>
    </dsp:sp>
    <dsp:sp modelId="{0D5F96D4-2B0B-4C2D-ABED-EDA5CED113CE}">
      <dsp:nvSpPr>
        <dsp:cNvPr id="0" name=""/>
        <dsp:cNvSpPr/>
      </dsp:nvSpPr>
      <dsp:spPr>
        <a:xfrm>
          <a:off x="3742458" y="15315"/>
          <a:ext cx="3004678" cy="259200"/>
        </a:xfrm>
        <a:prstGeom prst="rect">
          <a:avLst/>
        </a:prstGeom>
        <a:solidFill>
          <a:schemeClr val="accent4">
            <a:hueOff val="3266964"/>
            <a:satOff val="-13592"/>
            <a:lumOff val="3203"/>
            <a:alphaOff val="0"/>
          </a:schemeClr>
        </a:solidFill>
        <a:ln w="12700" cap="flat" cmpd="sng" algn="ctr">
          <a:solidFill>
            <a:schemeClr val="accent4">
              <a:hueOff val="3266964"/>
              <a:satOff val="-13592"/>
              <a:lumOff val="320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2</a:t>
          </a:r>
        </a:p>
      </dsp:txBody>
      <dsp:txXfrm>
        <a:off x="3742458" y="15315"/>
        <a:ext cx="3004678" cy="259200"/>
      </dsp:txXfrm>
    </dsp:sp>
    <dsp:sp modelId="{54365AD5-0B54-4735-8768-2F760476BB04}">
      <dsp:nvSpPr>
        <dsp:cNvPr id="0" name=""/>
        <dsp:cNvSpPr/>
      </dsp:nvSpPr>
      <dsp:spPr>
        <a:xfrm>
          <a:off x="3742458" y="274515"/>
          <a:ext cx="3004678" cy="1877579"/>
        </a:xfrm>
        <a:prstGeom prst="rect">
          <a:avLst/>
        </a:prstGeom>
        <a:solidFill>
          <a:schemeClr val="accent4">
            <a:tint val="40000"/>
            <a:alpha val="90000"/>
            <a:hueOff val="3620642"/>
            <a:satOff val="-17082"/>
            <a:lumOff val="-617"/>
            <a:alphaOff val="0"/>
          </a:schemeClr>
        </a:solidFill>
        <a:ln w="12700" cap="flat" cmpd="sng" algn="ctr">
          <a:solidFill>
            <a:schemeClr val="accent4">
              <a:tint val="40000"/>
              <a:alpha val="90000"/>
              <a:hueOff val="3620642"/>
              <a:satOff val="-17082"/>
              <a:lumOff val="-61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CA" sz="1600" b="0" kern="1200" dirty="0">
              <a:latin typeface="MS Reference Sans Serif" panose="020B0604030504040204" pitchFamily="34" charset="0"/>
              <a:ea typeface="Times New Roman" panose="02020603050405020304" pitchFamily="18" charset="0"/>
              <a:cs typeface="Courier New" panose="02070309020205020404" pitchFamily="49" charset="0"/>
            </a:rPr>
            <a:t>Coordinate with other  stakeholders and embrace a multidisciplinary approach</a:t>
          </a:r>
          <a:endParaRPr lang="en-US" sz="1600" b="0" kern="1200" dirty="0"/>
        </a:p>
      </dsp:txBody>
      <dsp:txXfrm>
        <a:off x="3742458" y="274515"/>
        <a:ext cx="3004678" cy="1877579"/>
      </dsp:txXfrm>
    </dsp:sp>
    <dsp:sp modelId="{9421DCFF-7251-432F-A1B7-D6E2B5B967DB}">
      <dsp:nvSpPr>
        <dsp:cNvPr id="0" name=""/>
        <dsp:cNvSpPr/>
      </dsp:nvSpPr>
      <dsp:spPr>
        <a:xfrm>
          <a:off x="7167791" y="15315"/>
          <a:ext cx="3004678" cy="259200"/>
        </a:xfrm>
        <a:prstGeom prst="rect">
          <a:avLst/>
        </a:prstGeom>
        <a:solidFill>
          <a:schemeClr val="accent4">
            <a:hueOff val="6533927"/>
            <a:satOff val="-27185"/>
            <a:lumOff val="6405"/>
            <a:alphaOff val="0"/>
          </a:schemeClr>
        </a:solidFill>
        <a:ln w="12700" cap="flat" cmpd="sng" algn="ctr">
          <a:solidFill>
            <a:schemeClr val="accent4">
              <a:hueOff val="6533927"/>
              <a:satOff val="-27185"/>
              <a:lumOff val="640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3</a:t>
          </a:r>
        </a:p>
      </dsp:txBody>
      <dsp:txXfrm>
        <a:off x="7167791" y="15315"/>
        <a:ext cx="3004678" cy="259200"/>
      </dsp:txXfrm>
    </dsp:sp>
    <dsp:sp modelId="{9B8553EE-9DC1-48D0-B043-A202F042D30C}">
      <dsp:nvSpPr>
        <dsp:cNvPr id="0" name=""/>
        <dsp:cNvSpPr/>
      </dsp:nvSpPr>
      <dsp:spPr>
        <a:xfrm>
          <a:off x="7167791" y="274515"/>
          <a:ext cx="3004678" cy="1877579"/>
        </a:xfrm>
        <a:prstGeom prst="rect">
          <a:avLst/>
        </a:prstGeom>
        <a:solidFill>
          <a:schemeClr val="accent4">
            <a:tint val="40000"/>
            <a:alpha val="90000"/>
            <a:hueOff val="7241284"/>
            <a:satOff val="-34163"/>
            <a:lumOff val="-1234"/>
            <a:alphaOff val="0"/>
          </a:schemeClr>
        </a:solidFill>
        <a:ln w="12700" cap="flat" cmpd="sng" algn="ctr">
          <a:solidFill>
            <a:schemeClr val="accent4">
              <a:tint val="40000"/>
              <a:alpha val="90000"/>
              <a:hueOff val="7241284"/>
              <a:satOff val="-34163"/>
              <a:lumOff val="-123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CA" sz="1600" kern="1200" dirty="0">
              <a:latin typeface="MS Reference Sans Serif" panose="020B0604030504040204" pitchFamily="34" charset="0"/>
              <a:ea typeface="Times New Roman" panose="02020603050405020304" pitchFamily="18" charset="0"/>
              <a:cs typeface="Courier New" panose="02070309020205020404" pitchFamily="49" charset="0"/>
            </a:rPr>
            <a:t>Sustainability of the priority interventions must be clearly stated including funding mechanism to ensure continuity of program or intervention</a:t>
          </a:r>
          <a:endParaRPr lang="en-US" sz="1600" kern="1200" dirty="0"/>
        </a:p>
      </dsp:txBody>
      <dsp:txXfrm>
        <a:off x="7167791" y="274515"/>
        <a:ext cx="3004678" cy="1877579"/>
      </dsp:txXfrm>
    </dsp:sp>
    <dsp:sp modelId="{884E727B-F42D-4061-8A7D-7F40AE572689}">
      <dsp:nvSpPr>
        <dsp:cNvPr id="0" name=""/>
        <dsp:cNvSpPr/>
      </dsp:nvSpPr>
      <dsp:spPr>
        <a:xfrm>
          <a:off x="10593125" y="15315"/>
          <a:ext cx="3004678" cy="259200"/>
        </a:xfrm>
        <a:prstGeom prst="rect">
          <a:avLst/>
        </a:prstGeom>
        <a:solidFill>
          <a:schemeClr val="accent4">
            <a:hueOff val="9800891"/>
            <a:satOff val="-40777"/>
            <a:lumOff val="9608"/>
            <a:alphaOff val="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6576" rIns="64008" bIns="36576" numCol="1" spcCol="1270" anchor="ctr" anchorCtr="0">
          <a:noAutofit/>
        </a:bodyPr>
        <a:lstStyle/>
        <a:p>
          <a:pPr marL="0" lvl="0" indent="0" algn="ctr" defTabSz="400050">
            <a:lnSpc>
              <a:spcPct val="90000"/>
            </a:lnSpc>
            <a:spcBef>
              <a:spcPct val="0"/>
            </a:spcBef>
            <a:spcAft>
              <a:spcPct val="35000"/>
            </a:spcAft>
            <a:buNone/>
          </a:pPr>
          <a:r>
            <a:rPr lang="en-US" sz="900" kern="1200" dirty="0"/>
            <a:t>4</a:t>
          </a:r>
        </a:p>
      </dsp:txBody>
      <dsp:txXfrm>
        <a:off x="10593125" y="15315"/>
        <a:ext cx="3004678" cy="259200"/>
      </dsp:txXfrm>
    </dsp:sp>
    <dsp:sp modelId="{A8A3D28F-835D-42C2-BCDB-F797C483A08B}">
      <dsp:nvSpPr>
        <dsp:cNvPr id="0" name=""/>
        <dsp:cNvSpPr/>
      </dsp:nvSpPr>
      <dsp:spPr>
        <a:xfrm>
          <a:off x="10593125" y="274515"/>
          <a:ext cx="3004678" cy="1877579"/>
        </a:xfrm>
        <a:prstGeom prst="rect">
          <a:avLst/>
        </a:prstGeom>
        <a:solidFill>
          <a:schemeClr val="accent4">
            <a:tint val="40000"/>
            <a:alpha val="90000"/>
            <a:hueOff val="10861925"/>
            <a:satOff val="-51245"/>
            <a:lumOff val="-1851"/>
            <a:alphaOff val="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CA" sz="1600" kern="1200" dirty="0">
              <a:latin typeface="MS Reference Sans Serif" panose="020B0604030504040204" pitchFamily="34" charset="0"/>
              <a:ea typeface="Times New Roman" panose="02020603050405020304" pitchFamily="18" charset="0"/>
              <a:cs typeface="Courier New" panose="02070309020205020404" pitchFamily="49" charset="0"/>
            </a:rPr>
            <a:t>Measures to provide disaggregated data on adolescents and young people to ensure proper monitoring of progress and impact evaluation </a:t>
          </a:r>
          <a:endParaRPr lang="en-US" sz="1600" kern="1200" dirty="0"/>
        </a:p>
      </dsp:txBody>
      <dsp:txXfrm>
        <a:off x="10593125" y="274515"/>
        <a:ext cx="3004678" cy="18775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64649A-F33A-4D21-B15A-CDC54456CC6A}">
      <dsp:nvSpPr>
        <dsp:cNvPr id="0" name=""/>
        <dsp:cNvSpPr/>
      </dsp:nvSpPr>
      <dsp:spPr>
        <a:xfrm>
          <a:off x="35932" y="2679275"/>
          <a:ext cx="1350857" cy="1350857"/>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37A9F1-ABA3-4541-B236-2458B3565DBD}">
      <dsp:nvSpPr>
        <dsp:cNvPr id="0" name=""/>
        <dsp:cNvSpPr/>
      </dsp:nvSpPr>
      <dsp:spPr>
        <a:xfrm>
          <a:off x="319612" y="2962955"/>
          <a:ext cx="783497" cy="78349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300B6B-0091-4ADA-AFE1-7E9BD91521EE}">
      <dsp:nvSpPr>
        <dsp:cNvPr id="0" name=""/>
        <dsp:cNvSpPr/>
      </dsp:nvSpPr>
      <dsp:spPr>
        <a:xfrm>
          <a:off x="1265550" y="2679275"/>
          <a:ext cx="4005583" cy="1350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kern="1200" cap="none" dirty="0"/>
            <a:t>The costing analysis follows widely used guidelines in estimating the costs of interventions.</a:t>
          </a:r>
        </a:p>
        <a:p>
          <a:pPr marL="0" lvl="0" indent="0" algn="l" defTabSz="889000">
            <a:lnSpc>
              <a:spcPct val="100000"/>
            </a:lnSpc>
            <a:spcBef>
              <a:spcPct val="0"/>
            </a:spcBef>
            <a:spcAft>
              <a:spcPct val="35000"/>
            </a:spcAft>
            <a:buNone/>
          </a:pPr>
          <a:endParaRPr lang="en-GB" sz="2000" kern="1200" cap="none" dirty="0"/>
        </a:p>
        <a:p>
          <a:pPr marL="0" lvl="0" indent="0" algn="l" defTabSz="889000">
            <a:lnSpc>
              <a:spcPct val="100000"/>
            </a:lnSpc>
            <a:spcBef>
              <a:spcPct val="0"/>
            </a:spcBef>
            <a:spcAft>
              <a:spcPct val="35000"/>
            </a:spcAft>
            <a:buNone/>
          </a:pPr>
          <a:r>
            <a:rPr lang="en-GB" sz="2000" kern="1200" cap="none" dirty="0"/>
            <a:t>Uses an activity-based costing approach </a:t>
          </a:r>
        </a:p>
        <a:p>
          <a:pPr marL="0" lvl="0" indent="0" algn="l" defTabSz="889000">
            <a:lnSpc>
              <a:spcPct val="100000"/>
            </a:lnSpc>
            <a:spcBef>
              <a:spcPct val="0"/>
            </a:spcBef>
            <a:spcAft>
              <a:spcPct val="35000"/>
            </a:spcAft>
            <a:buNone/>
          </a:pPr>
          <a:endParaRPr lang="en-GB" sz="2000" kern="1200" cap="none" dirty="0"/>
        </a:p>
        <a:p>
          <a:pPr marL="0" lvl="0" indent="0" algn="l" defTabSz="889000">
            <a:lnSpc>
              <a:spcPct val="100000"/>
            </a:lnSpc>
            <a:spcBef>
              <a:spcPct val="0"/>
            </a:spcBef>
            <a:spcAft>
              <a:spcPct val="35000"/>
            </a:spcAft>
            <a:buNone/>
          </a:pPr>
          <a:r>
            <a:rPr lang="en-GB" sz="2000" kern="1200" cap="none" dirty="0"/>
            <a:t>However, the analysis does not include cost to the adolescents in assessing the interventions or the broader societal cost of the intervention. </a:t>
          </a:r>
        </a:p>
        <a:p>
          <a:pPr marL="0" lvl="0" indent="0" algn="l" defTabSz="889000">
            <a:lnSpc>
              <a:spcPct val="100000"/>
            </a:lnSpc>
            <a:spcBef>
              <a:spcPct val="0"/>
            </a:spcBef>
            <a:spcAft>
              <a:spcPct val="35000"/>
            </a:spcAft>
            <a:buNone/>
          </a:pPr>
          <a:endParaRPr lang="en-GB" sz="2000" kern="1200" cap="none" dirty="0"/>
        </a:p>
        <a:p>
          <a:pPr marL="0" lvl="0" indent="0" algn="l" defTabSz="889000">
            <a:lnSpc>
              <a:spcPct val="100000"/>
            </a:lnSpc>
            <a:spcBef>
              <a:spcPct val="0"/>
            </a:spcBef>
            <a:spcAft>
              <a:spcPct val="35000"/>
            </a:spcAft>
            <a:buNone/>
          </a:pPr>
          <a:r>
            <a:rPr lang="en-GB" sz="2000" kern="1200" cap="none" dirty="0"/>
            <a:t>All activities associated with the delivery of the interventions were identified and costed individually and aggregated using an excel-based tool developed specifically </a:t>
          </a:r>
          <a:r>
            <a:rPr lang="en-GB" sz="1400" kern="1200" cap="none" dirty="0"/>
            <a:t>for this purpose</a:t>
          </a:r>
          <a:endParaRPr lang="en-US" sz="1400" kern="1200" cap="none" dirty="0"/>
        </a:p>
      </dsp:txBody>
      <dsp:txXfrm>
        <a:off x="1265550" y="2679275"/>
        <a:ext cx="4005583" cy="1350857"/>
      </dsp:txXfrm>
    </dsp:sp>
    <dsp:sp modelId="{02DDD794-37B0-4250-BAB2-FC017D8D9EAB}">
      <dsp:nvSpPr>
        <dsp:cNvPr id="0" name=""/>
        <dsp:cNvSpPr/>
      </dsp:nvSpPr>
      <dsp:spPr>
        <a:xfrm>
          <a:off x="5825950" y="2679275"/>
          <a:ext cx="1350857" cy="1350857"/>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79D7247-75C1-4DD6-82EC-345142B677D2}">
      <dsp:nvSpPr>
        <dsp:cNvPr id="0" name=""/>
        <dsp:cNvSpPr/>
      </dsp:nvSpPr>
      <dsp:spPr>
        <a:xfrm>
          <a:off x="6109630" y="2962955"/>
          <a:ext cx="783497" cy="78349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A86A8E1-0667-4940-8B95-824722A79A96}">
      <dsp:nvSpPr>
        <dsp:cNvPr id="0" name=""/>
        <dsp:cNvSpPr/>
      </dsp:nvSpPr>
      <dsp:spPr>
        <a:xfrm>
          <a:off x="7466277" y="2679275"/>
          <a:ext cx="3184164" cy="13508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kern="1200" cap="none" dirty="0"/>
            <a:t>Data on inputs and assumptions were agreed upon by the study team. </a:t>
          </a:r>
        </a:p>
        <a:p>
          <a:pPr marL="0" lvl="0" indent="0" algn="l" defTabSz="889000">
            <a:lnSpc>
              <a:spcPct val="100000"/>
            </a:lnSpc>
            <a:spcBef>
              <a:spcPct val="0"/>
            </a:spcBef>
            <a:spcAft>
              <a:spcPct val="35000"/>
            </a:spcAft>
            <a:buNone/>
          </a:pPr>
          <a:r>
            <a:rPr lang="en-GB" sz="2000" kern="1200" cap="none" dirty="0"/>
            <a:t>Key informant interviews within the respective stakeholders were conducted for additional information, as needed, to inform the analysis. </a:t>
          </a:r>
        </a:p>
        <a:p>
          <a:pPr marL="0" lvl="0" indent="0" algn="l" defTabSz="889000">
            <a:lnSpc>
              <a:spcPct val="100000"/>
            </a:lnSpc>
            <a:spcBef>
              <a:spcPct val="0"/>
            </a:spcBef>
            <a:spcAft>
              <a:spcPct val="35000"/>
            </a:spcAft>
            <a:buNone/>
          </a:pPr>
          <a:endParaRPr lang="en-GB" sz="2000" kern="1200" cap="none" dirty="0"/>
        </a:p>
        <a:p>
          <a:pPr marL="0" lvl="0" indent="0" algn="l" defTabSz="889000">
            <a:lnSpc>
              <a:spcPct val="100000"/>
            </a:lnSpc>
            <a:spcBef>
              <a:spcPct val="0"/>
            </a:spcBef>
            <a:spcAft>
              <a:spcPct val="35000"/>
            </a:spcAft>
            <a:buNone/>
          </a:pPr>
          <a:r>
            <a:rPr lang="en-GB" sz="2000" kern="1200" cap="none" dirty="0"/>
            <a:t>Duration: September 2021 to June 2022. </a:t>
          </a:r>
        </a:p>
        <a:p>
          <a:pPr marL="0" lvl="0" indent="0" algn="l" defTabSz="889000">
            <a:lnSpc>
              <a:spcPct val="100000"/>
            </a:lnSpc>
            <a:spcBef>
              <a:spcPct val="0"/>
            </a:spcBef>
            <a:spcAft>
              <a:spcPct val="35000"/>
            </a:spcAft>
            <a:buNone/>
          </a:pPr>
          <a:endParaRPr lang="en-GB" sz="2000" kern="1200" cap="none" dirty="0"/>
        </a:p>
        <a:p>
          <a:pPr marL="0" lvl="0" indent="0" algn="l" defTabSz="889000">
            <a:lnSpc>
              <a:spcPct val="100000"/>
            </a:lnSpc>
            <a:spcBef>
              <a:spcPct val="0"/>
            </a:spcBef>
            <a:spcAft>
              <a:spcPct val="35000"/>
            </a:spcAft>
            <a:buNone/>
          </a:pPr>
          <a:r>
            <a:rPr lang="en-GB" sz="2000" kern="1200" cap="none" dirty="0"/>
            <a:t>The analysis estimates costs for a seven-year time frame (2015–2021). </a:t>
          </a:r>
          <a:endParaRPr lang="en-US" sz="2000" kern="1200" cap="none" dirty="0"/>
        </a:p>
      </dsp:txBody>
      <dsp:txXfrm>
        <a:off x="7466277" y="2679275"/>
        <a:ext cx="3184164" cy="13508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8507F7-58F0-174C-A020-08D7A86C310C}">
      <dsp:nvSpPr>
        <dsp:cNvPr id="0" name=""/>
        <dsp:cNvSpPr/>
      </dsp:nvSpPr>
      <dsp:spPr>
        <a:xfrm>
          <a:off x="0" y="0"/>
          <a:ext cx="52542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F00B97-C3CE-7F48-B5A6-3B63BCE1B408}">
      <dsp:nvSpPr>
        <dsp:cNvPr id="0" name=""/>
        <dsp:cNvSpPr/>
      </dsp:nvSpPr>
      <dsp:spPr>
        <a:xfrm>
          <a:off x="0" y="0"/>
          <a:ext cx="5254281" cy="1523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GB" sz="2300" kern="1200"/>
            <a:t>To estimate the cost of the priority interventions identified, we developed an excel based instrumented to collect data.</a:t>
          </a:r>
          <a:endParaRPr lang="en-US" sz="2300" kern="1200"/>
        </a:p>
      </dsp:txBody>
      <dsp:txXfrm>
        <a:off x="0" y="0"/>
        <a:ext cx="5254281" cy="1523493"/>
      </dsp:txXfrm>
    </dsp:sp>
    <dsp:sp modelId="{58A3E9C8-1E53-D747-9E83-F7730B01A297}">
      <dsp:nvSpPr>
        <dsp:cNvPr id="0" name=""/>
        <dsp:cNvSpPr/>
      </dsp:nvSpPr>
      <dsp:spPr>
        <a:xfrm>
          <a:off x="0" y="1523493"/>
          <a:ext cx="52542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59E6D7-D59A-9F42-BCEB-5482E74BC60F}">
      <dsp:nvSpPr>
        <dsp:cNvPr id="0" name=""/>
        <dsp:cNvSpPr/>
      </dsp:nvSpPr>
      <dsp:spPr>
        <a:xfrm>
          <a:off x="0" y="1523493"/>
          <a:ext cx="5254281" cy="1523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GB" sz="2300" kern="1200"/>
            <a:t>This involved a critical analysis of each intervention and the potential cost components or centres underpinning the intervention. </a:t>
          </a:r>
          <a:endParaRPr lang="en-US" sz="2300" kern="1200"/>
        </a:p>
      </dsp:txBody>
      <dsp:txXfrm>
        <a:off x="0" y="1523493"/>
        <a:ext cx="5254281" cy="1523493"/>
      </dsp:txXfrm>
    </dsp:sp>
    <dsp:sp modelId="{573AC19B-20BF-CD49-8205-2F2527882EE1}">
      <dsp:nvSpPr>
        <dsp:cNvPr id="0" name=""/>
        <dsp:cNvSpPr/>
      </dsp:nvSpPr>
      <dsp:spPr>
        <a:xfrm>
          <a:off x="0" y="3046987"/>
          <a:ext cx="52542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182A02-EDEB-244B-92F2-86677F32CC55}">
      <dsp:nvSpPr>
        <dsp:cNvPr id="0" name=""/>
        <dsp:cNvSpPr/>
      </dsp:nvSpPr>
      <dsp:spPr>
        <a:xfrm>
          <a:off x="0" y="3046987"/>
          <a:ext cx="5254281" cy="1523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GB" sz="2300" kern="1200" dirty="0"/>
            <a:t>The micro activities cost components were then further classified into major cost categories or centres consistent with activity costing practice and procedures. </a:t>
          </a:r>
          <a:endParaRPr lang="en-US" sz="2300" kern="1200" dirty="0"/>
        </a:p>
      </dsp:txBody>
      <dsp:txXfrm>
        <a:off x="0" y="3046987"/>
        <a:ext cx="5254281" cy="1523493"/>
      </dsp:txXfrm>
    </dsp:sp>
    <dsp:sp modelId="{A5D800F9-EB9D-E749-B109-444C9F53E057}">
      <dsp:nvSpPr>
        <dsp:cNvPr id="0" name=""/>
        <dsp:cNvSpPr/>
      </dsp:nvSpPr>
      <dsp:spPr>
        <a:xfrm>
          <a:off x="0" y="4570482"/>
          <a:ext cx="5254281"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A1835C-336E-3244-940B-8D4A6933F5D3}">
      <dsp:nvSpPr>
        <dsp:cNvPr id="0" name=""/>
        <dsp:cNvSpPr/>
      </dsp:nvSpPr>
      <dsp:spPr>
        <a:xfrm>
          <a:off x="0" y="4570481"/>
          <a:ext cx="5254281" cy="15234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en-GB" sz="2300" kern="1200" dirty="0"/>
            <a:t>The tool was shared widely with the wider research team and stakeholders for inputs and validation for the data collection. </a:t>
          </a:r>
          <a:endParaRPr lang="en-US" sz="2300" kern="1200" dirty="0"/>
        </a:p>
      </dsp:txBody>
      <dsp:txXfrm>
        <a:off x="0" y="4570481"/>
        <a:ext cx="5254281" cy="152349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71639F-E8FF-4473-B237-6E64B3159168}">
      <dsp:nvSpPr>
        <dsp:cNvPr id="0" name=""/>
        <dsp:cNvSpPr/>
      </dsp:nvSpPr>
      <dsp:spPr>
        <a:xfrm>
          <a:off x="1266603" y="1434109"/>
          <a:ext cx="1835504" cy="18355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B8628E-BAF8-4F0F-9F64-5B2562B19BB5}">
      <dsp:nvSpPr>
        <dsp:cNvPr id="0" name=""/>
        <dsp:cNvSpPr/>
      </dsp:nvSpPr>
      <dsp:spPr>
        <a:xfrm>
          <a:off x="144907" y="3720910"/>
          <a:ext cx="407889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89050">
            <a:lnSpc>
              <a:spcPct val="100000"/>
            </a:lnSpc>
            <a:spcBef>
              <a:spcPct val="0"/>
            </a:spcBef>
            <a:spcAft>
              <a:spcPct val="35000"/>
            </a:spcAft>
            <a:buNone/>
          </a:pPr>
          <a:r>
            <a:rPr lang="en-US" sz="2900" kern="1200"/>
            <a:t>Identify resource needs</a:t>
          </a:r>
        </a:p>
      </dsp:txBody>
      <dsp:txXfrm>
        <a:off x="144907" y="3720910"/>
        <a:ext cx="4078897" cy="720000"/>
      </dsp:txXfrm>
    </dsp:sp>
    <dsp:sp modelId="{2F8774F1-AB1A-42B1-B5E9-4F05624D800D}">
      <dsp:nvSpPr>
        <dsp:cNvPr id="0" name=""/>
        <dsp:cNvSpPr/>
      </dsp:nvSpPr>
      <dsp:spPr>
        <a:xfrm>
          <a:off x="6059308" y="1434109"/>
          <a:ext cx="1835504" cy="18355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80D095-29E4-4400-8A02-A33D9DFB284E}">
      <dsp:nvSpPr>
        <dsp:cNvPr id="0" name=""/>
        <dsp:cNvSpPr/>
      </dsp:nvSpPr>
      <dsp:spPr>
        <a:xfrm>
          <a:off x="4937612" y="3720910"/>
          <a:ext cx="407889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89050">
            <a:lnSpc>
              <a:spcPct val="100000"/>
            </a:lnSpc>
            <a:spcBef>
              <a:spcPct val="0"/>
            </a:spcBef>
            <a:spcAft>
              <a:spcPct val="35000"/>
            </a:spcAft>
            <a:buNone/>
          </a:pPr>
          <a:r>
            <a:rPr lang="en-US" sz="2900" kern="1200"/>
            <a:t>Identify funding gaps</a:t>
          </a:r>
        </a:p>
      </dsp:txBody>
      <dsp:txXfrm>
        <a:off x="4937612" y="3720910"/>
        <a:ext cx="4078897" cy="720000"/>
      </dsp:txXfrm>
    </dsp:sp>
    <dsp:sp modelId="{FFA54B5E-D390-4F82-9D2E-C90DA2A59A1C}">
      <dsp:nvSpPr>
        <dsp:cNvPr id="0" name=""/>
        <dsp:cNvSpPr/>
      </dsp:nvSpPr>
      <dsp:spPr>
        <a:xfrm>
          <a:off x="10852013" y="1434109"/>
          <a:ext cx="1835504" cy="183550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B021AF-9ABE-4B1C-B741-9F9B91268ED5}">
      <dsp:nvSpPr>
        <dsp:cNvPr id="0" name=""/>
        <dsp:cNvSpPr/>
      </dsp:nvSpPr>
      <dsp:spPr>
        <a:xfrm>
          <a:off x="9730317" y="3720910"/>
          <a:ext cx="4078897"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89050">
            <a:lnSpc>
              <a:spcPct val="100000"/>
            </a:lnSpc>
            <a:spcBef>
              <a:spcPct val="0"/>
            </a:spcBef>
            <a:spcAft>
              <a:spcPct val="35000"/>
            </a:spcAft>
            <a:buNone/>
          </a:pPr>
          <a:r>
            <a:rPr lang="en-US" sz="2900" kern="1200"/>
            <a:t>Develop funding strategies</a:t>
          </a:r>
        </a:p>
      </dsp:txBody>
      <dsp:txXfrm>
        <a:off x="9730317" y="3720910"/>
        <a:ext cx="4078897" cy="7200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035D7B-A808-8044-9C49-D412EECB10A9}">
      <dsp:nvSpPr>
        <dsp:cNvPr id="0" name=""/>
        <dsp:cNvSpPr/>
      </dsp:nvSpPr>
      <dsp:spPr>
        <a:xfrm>
          <a:off x="0" y="0"/>
          <a:ext cx="12953180" cy="684105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en-US" sz="3600" kern="1200" dirty="0"/>
        </a:p>
      </dsp:txBody>
      <dsp:txXfrm>
        <a:off x="0" y="0"/>
        <a:ext cx="12953180" cy="3694167"/>
      </dsp:txXfrm>
    </dsp:sp>
    <dsp:sp modelId="{47F98240-DA66-1B41-9797-695015A37CC8}">
      <dsp:nvSpPr>
        <dsp:cNvPr id="0" name=""/>
        <dsp:cNvSpPr/>
      </dsp:nvSpPr>
      <dsp:spPr>
        <a:xfrm>
          <a:off x="0" y="3557345"/>
          <a:ext cx="3238294" cy="3146883"/>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35560" rIns="199136" bIns="35560" numCol="1" spcCol="1270" anchor="ctr" anchorCtr="0">
          <a:noAutofit/>
        </a:bodyPr>
        <a:lstStyle/>
        <a:p>
          <a:pPr marL="0" lvl="0" indent="0" algn="ctr" defTabSz="1244600">
            <a:lnSpc>
              <a:spcPct val="90000"/>
            </a:lnSpc>
            <a:spcBef>
              <a:spcPct val="0"/>
            </a:spcBef>
            <a:spcAft>
              <a:spcPct val="35000"/>
            </a:spcAft>
            <a:buNone/>
          </a:pPr>
          <a:r>
            <a:rPr lang="en-GB" sz="2800" b="0" i="0" kern="1200" dirty="0"/>
            <a:t>Developing a long-term national financing strategy for ASRH</a:t>
          </a:r>
          <a:endParaRPr lang="en-US" sz="2800" kern="1200" dirty="0"/>
        </a:p>
      </dsp:txBody>
      <dsp:txXfrm>
        <a:off x="0" y="3557345"/>
        <a:ext cx="3238294" cy="3146883"/>
      </dsp:txXfrm>
    </dsp:sp>
    <dsp:sp modelId="{6FCDE8C6-2C57-8843-B021-C9D28BF6E47F}">
      <dsp:nvSpPr>
        <dsp:cNvPr id="0" name=""/>
        <dsp:cNvSpPr/>
      </dsp:nvSpPr>
      <dsp:spPr>
        <a:xfrm>
          <a:off x="3238295" y="3557345"/>
          <a:ext cx="3238294" cy="3146883"/>
        </a:xfrm>
        <a:prstGeom prst="rect">
          <a:avLst/>
        </a:prstGeom>
        <a:solidFill>
          <a:schemeClr val="accent5">
            <a:tint val="40000"/>
            <a:alpha val="90000"/>
            <a:hueOff val="-2246587"/>
            <a:satOff val="-7611"/>
            <a:lumOff val="-976"/>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35560" rIns="199136" bIns="35560" numCol="1" spcCol="1270" anchor="ctr" anchorCtr="0">
          <a:noAutofit/>
        </a:bodyPr>
        <a:lstStyle/>
        <a:p>
          <a:pPr marL="0" lvl="0" indent="0" algn="ctr" defTabSz="1244600">
            <a:lnSpc>
              <a:spcPct val="90000"/>
            </a:lnSpc>
            <a:spcBef>
              <a:spcPct val="0"/>
            </a:spcBef>
            <a:spcAft>
              <a:spcPct val="35000"/>
            </a:spcAft>
            <a:buNone/>
          </a:pPr>
          <a:r>
            <a:rPr lang="en-GB" sz="2800" kern="1200" dirty="0"/>
            <a:t>C</a:t>
          </a:r>
          <a:r>
            <a:rPr lang="en-GB" sz="2800" b="0" i="0" kern="1200" dirty="0"/>
            <a:t>o-creating interventions with beneficiaries to reduce costs and increase ownership</a:t>
          </a:r>
          <a:endParaRPr lang="en-US" sz="2800" kern="1200" dirty="0"/>
        </a:p>
      </dsp:txBody>
      <dsp:txXfrm>
        <a:off x="3238295" y="3557345"/>
        <a:ext cx="3238294" cy="3146883"/>
      </dsp:txXfrm>
    </dsp:sp>
    <dsp:sp modelId="{58F3AE01-55B6-624D-A90F-D02620EE9B96}">
      <dsp:nvSpPr>
        <dsp:cNvPr id="0" name=""/>
        <dsp:cNvSpPr/>
      </dsp:nvSpPr>
      <dsp:spPr>
        <a:xfrm>
          <a:off x="6476590" y="3557345"/>
          <a:ext cx="3238294" cy="3146883"/>
        </a:xfrm>
        <a:prstGeom prst="rect">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35560" rIns="199136" bIns="35560" numCol="1" spcCol="1270" anchor="ctr" anchorCtr="0">
          <a:noAutofit/>
        </a:bodyPr>
        <a:lstStyle/>
        <a:p>
          <a:pPr marL="0" lvl="0" indent="0" algn="ctr" defTabSz="1244600">
            <a:lnSpc>
              <a:spcPct val="90000"/>
            </a:lnSpc>
            <a:spcBef>
              <a:spcPct val="0"/>
            </a:spcBef>
            <a:spcAft>
              <a:spcPct val="35000"/>
            </a:spcAft>
            <a:buNone/>
          </a:pPr>
          <a:r>
            <a:rPr lang="en-GB" sz="2800" kern="1200" dirty="0"/>
            <a:t>C</a:t>
          </a:r>
          <a:r>
            <a:rPr lang="en-GB" sz="2800" b="0" i="0" kern="1200" dirty="0"/>
            <a:t>onducting comprehensive cost-benefit evaluations to attract investment</a:t>
          </a:r>
          <a:endParaRPr lang="en-US" sz="2800" kern="1200" dirty="0"/>
        </a:p>
      </dsp:txBody>
      <dsp:txXfrm>
        <a:off x="6476590" y="3557345"/>
        <a:ext cx="3238294" cy="3146883"/>
      </dsp:txXfrm>
    </dsp:sp>
    <dsp:sp modelId="{92F01A3E-8D45-CD49-8A77-92325EF56E51}">
      <dsp:nvSpPr>
        <dsp:cNvPr id="0" name=""/>
        <dsp:cNvSpPr/>
      </dsp:nvSpPr>
      <dsp:spPr>
        <a:xfrm>
          <a:off x="9714884" y="3557345"/>
          <a:ext cx="3238294" cy="3146883"/>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35560" rIns="199136" bIns="35560" numCol="1" spcCol="1270" anchor="ctr" anchorCtr="0">
          <a:noAutofit/>
        </a:bodyPr>
        <a:lstStyle/>
        <a:p>
          <a:pPr marL="0" lvl="0" indent="0" algn="ctr" defTabSz="1244600">
            <a:lnSpc>
              <a:spcPct val="90000"/>
            </a:lnSpc>
            <a:spcBef>
              <a:spcPct val="0"/>
            </a:spcBef>
            <a:spcAft>
              <a:spcPct val="35000"/>
            </a:spcAft>
            <a:buNone/>
          </a:pPr>
          <a:r>
            <a:rPr lang="en-GB" sz="2800" kern="1200" dirty="0"/>
            <a:t>F</a:t>
          </a:r>
          <a:r>
            <a:rPr lang="en-GB" sz="2800" b="0" i="0" kern="1200" dirty="0"/>
            <a:t>ocusing on preventive interventions delivered digitally to bridge the funding gap. </a:t>
          </a:r>
          <a:endParaRPr lang="en-US" sz="2800" kern="1200" dirty="0"/>
        </a:p>
      </dsp:txBody>
      <dsp:txXfrm>
        <a:off x="9714884" y="3557345"/>
        <a:ext cx="3238294" cy="3146883"/>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568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GH" dirty="0"/>
          </a:p>
        </p:txBody>
      </p:sp>
    </p:spTree>
    <p:extLst>
      <p:ext uri="{BB962C8B-B14F-4D97-AF65-F5344CB8AC3E}">
        <p14:creationId xmlns:p14="http://schemas.microsoft.com/office/powerpoint/2010/main" val="1050117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GH" dirty="0"/>
          </a:p>
        </p:txBody>
      </p:sp>
    </p:spTree>
    <p:extLst>
      <p:ext uri="{BB962C8B-B14F-4D97-AF65-F5344CB8AC3E}">
        <p14:creationId xmlns:p14="http://schemas.microsoft.com/office/powerpoint/2010/main" val="2899187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GH" dirty="0"/>
          </a:p>
        </p:txBody>
      </p:sp>
    </p:spTree>
    <p:extLst>
      <p:ext uri="{BB962C8B-B14F-4D97-AF65-F5344CB8AC3E}">
        <p14:creationId xmlns:p14="http://schemas.microsoft.com/office/powerpoint/2010/main" val="2014099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GH" dirty="0"/>
          </a:p>
        </p:txBody>
      </p:sp>
    </p:spTree>
    <p:extLst>
      <p:ext uri="{BB962C8B-B14F-4D97-AF65-F5344CB8AC3E}">
        <p14:creationId xmlns:p14="http://schemas.microsoft.com/office/powerpoint/2010/main" val="800220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GH" dirty="0"/>
          </a:p>
        </p:txBody>
      </p:sp>
    </p:spTree>
    <p:extLst>
      <p:ext uri="{BB962C8B-B14F-4D97-AF65-F5344CB8AC3E}">
        <p14:creationId xmlns:p14="http://schemas.microsoft.com/office/powerpoint/2010/main" val="4172671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spc="-35" dirty="0">
                <a:solidFill>
                  <a:srgbClr val="E5E0DF"/>
                </a:solidFill>
                <a:latin typeface="Inter" pitchFamily="34" charset="0"/>
                <a:ea typeface="Inter" pitchFamily="34" charset="-122"/>
                <a:cs typeface="Inter" pitchFamily="34" charset="-120"/>
              </a:rPr>
              <a:t>Join us in exploring the latest research on adolescent sexual and reproductive health in Ghana. Learn about funding gaps and resource mobilisation strategies for interventions, as well as innovative approaches to improving health outcomes for young people.</a:t>
            </a:r>
            <a:endParaRPr lang="en-US" sz="1200" dirty="0"/>
          </a:p>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3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a:t>46</a:t>
            </a:fld>
            <a:endParaRPr lang="en-US"/>
          </a:p>
        </p:txBody>
      </p:sp>
    </p:spTree>
    <p:extLst>
      <p:ext uri="{BB962C8B-B14F-4D97-AF65-F5344CB8AC3E}">
        <p14:creationId xmlns:p14="http://schemas.microsoft.com/office/powerpoint/2010/main" val="2244342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3050" y="1828800"/>
            <a:ext cx="8775700" cy="4937125"/>
          </a:xfrm>
          <a:prstGeom prst="rect">
            <a:avLst/>
          </a:prstGeom>
          <a:noFill/>
          <a:ln w="12700">
            <a:solidFill>
              <a:prstClr val="black"/>
            </a:solidFill>
          </a:ln>
        </p:spPr>
      </p:sp>
      <p:sp>
        <p:nvSpPr>
          <p:cNvPr id="3" name="Notes Placeholder 2"/>
          <p:cNvSpPr>
            <a:spLocks noGrp="1"/>
          </p:cNvSpPr>
          <p:nvPr>
            <p:ph type="body" idx="1"/>
          </p:nvPr>
        </p:nvSpPr>
        <p:spPr>
          <a:xfrm>
            <a:off x="822325" y="7040563"/>
            <a:ext cx="6584950" cy="5761037"/>
          </a:xfrm>
          <a:prstGeom prst="rect">
            <a:avLst/>
          </a:prstGeom>
        </p:spPr>
        <p:txBody>
          <a:bodyPr/>
          <a:lstStyle/>
          <a:p>
            <a:endParaRPr lang="en-GH" dirty="0"/>
          </a:p>
        </p:txBody>
      </p:sp>
    </p:spTree>
    <p:extLst>
      <p:ext uri="{BB962C8B-B14F-4D97-AF65-F5344CB8AC3E}">
        <p14:creationId xmlns:p14="http://schemas.microsoft.com/office/powerpoint/2010/main" val="9945810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1346836"/>
            <a:ext cx="10972800" cy="2865120"/>
          </a:xfrm>
        </p:spPr>
        <p:txBody>
          <a:bodyPr anchor="b"/>
          <a:lstStyle>
            <a:lvl1pPr algn="ctr">
              <a:defRPr sz="7200"/>
            </a:lvl1pPr>
          </a:lstStyle>
          <a:p>
            <a:r>
              <a:rPr lang="en-US"/>
              <a:t>Click to edit Master title style</a:t>
            </a:r>
          </a:p>
        </p:txBody>
      </p:sp>
      <p:sp>
        <p:nvSpPr>
          <p:cNvPr id="3" name="Subtitle 2"/>
          <p:cNvSpPr>
            <a:spLocks noGrp="1"/>
          </p:cNvSpPr>
          <p:nvPr>
            <p:ph type="subTitle" idx="1"/>
          </p:nvPr>
        </p:nvSpPr>
        <p:spPr>
          <a:xfrm>
            <a:off x="1828800" y="4322446"/>
            <a:ext cx="10972800" cy="1986914"/>
          </a:xfrm>
        </p:spPr>
        <p:txBody>
          <a:bodyPr/>
          <a:lstStyle>
            <a:lvl1pPr marL="0" indent="0" algn="ctr">
              <a:buNone/>
              <a:defRPr sz="2880"/>
            </a:lvl1pPr>
            <a:lvl2pPr marL="548640" indent="0" algn="ctr">
              <a:buNone/>
              <a:defRPr sz="2400"/>
            </a:lvl2pPr>
            <a:lvl3pPr marL="1097280" indent="0" algn="ctr">
              <a:buNone/>
              <a:defRPr sz="2160"/>
            </a:lvl3pPr>
            <a:lvl4pPr marL="1645920" indent="0" algn="ctr">
              <a:buNone/>
              <a:defRPr sz="1920"/>
            </a:lvl4pPr>
            <a:lvl5pPr marL="2194560" indent="0" algn="ctr">
              <a:buNone/>
              <a:defRPr sz="1920"/>
            </a:lvl5pPr>
            <a:lvl6pPr marL="2743200" indent="0" algn="ctr">
              <a:buNone/>
              <a:defRPr sz="1920"/>
            </a:lvl6pPr>
            <a:lvl7pPr marL="3291840" indent="0" algn="ctr">
              <a:buNone/>
              <a:defRPr sz="1920"/>
            </a:lvl7pPr>
            <a:lvl8pPr marL="3840480" indent="0" algn="ctr">
              <a:buNone/>
              <a:defRPr sz="1920"/>
            </a:lvl8pPr>
            <a:lvl9pPr marL="4389120" indent="0" algn="ctr">
              <a:buNone/>
              <a:defRPr sz="1920"/>
            </a:lvl9pPr>
          </a:lstStyle>
          <a:p>
            <a:r>
              <a:rPr lang="en-US"/>
              <a:t>Click to edit Master subtitle style</a:t>
            </a:r>
          </a:p>
        </p:txBody>
      </p:sp>
      <p:sp>
        <p:nvSpPr>
          <p:cNvPr id="4" name="Date Placeholder 3"/>
          <p:cNvSpPr>
            <a:spLocks noGrp="1"/>
          </p:cNvSpPr>
          <p:nvPr>
            <p:ph type="dt" sz="half" idx="10"/>
          </p:nvPr>
        </p:nvSpPr>
        <p:spPr/>
        <p:txBody>
          <a:bodyPr/>
          <a:lstStyle/>
          <a:p>
            <a:fld id="{28B9908E-AB4B-4719-9AFF-0A95DEA359BD}" type="datetimeFigureOut">
              <a:rPr lang="en-US" smtClean="0"/>
              <a:t>9/6/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B246149-1942-49E8-A7F0-1F458CA3EB64}" type="slidenum">
              <a:rPr lang="en-US" smtClean="0"/>
              <a:t>‹#›</a:t>
            </a:fld>
            <a:endParaRPr lang="en-US"/>
          </a:p>
        </p:txBody>
      </p:sp>
    </p:spTree>
    <p:extLst>
      <p:ext uri="{BB962C8B-B14F-4D97-AF65-F5344CB8AC3E}">
        <p14:creationId xmlns:p14="http://schemas.microsoft.com/office/powerpoint/2010/main" val="4198234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A5123-2699-44D9-91A7-A36A86549A78}"/>
              </a:ext>
            </a:extLst>
          </p:cNvPr>
          <p:cNvGraphicFramePr>
            <a:graphicFrameLocks noChangeAspect="1"/>
          </p:cNvGraphicFramePr>
          <p:nvPr userDrawn="1">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4128" name="think-cell Slide" r:id="rId4" imgW="378" imgH="377" progId="TCLayout.ActiveDocument.1">
                  <p:embed/>
                </p:oleObj>
              </mc:Choice>
              <mc:Fallback>
                <p:oleObj name="think-cell Slide" r:id="rId4" imgW="378" imgH="377" progId="TCLayout.ActiveDocument.1">
                  <p:embed/>
                  <p:pic>
                    <p:nvPicPr>
                      <p:cNvPr id="8" name="Object 7" hidden="1">
                        <a:extLst>
                          <a:ext uri="{FF2B5EF4-FFF2-40B4-BE49-F238E27FC236}">
                            <a16:creationId xmlns:a16="http://schemas.microsoft.com/office/drawing/2014/main" id="{A34A5123-2699-44D9-91A7-A36A86549A78}"/>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2" name="Title 1"/>
          <p:cNvSpPr>
            <a:spLocks noGrp="1"/>
          </p:cNvSpPr>
          <p:nvPr>
            <p:ph type="title"/>
          </p:nvPr>
        </p:nvSpPr>
        <p:spPr>
          <a:xfrm>
            <a:off x="360045" y="702945"/>
            <a:ext cx="13954122" cy="729614"/>
          </a:xfrm>
          <a:prstGeom prst="rect">
            <a:avLst/>
          </a:prstGeom>
        </p:spPr>
        <p:txBody>
          <a:bodyPr vert="horz"/>
          <a:lstStyle>
            <a:lvl1pPr>
              <a:lnSpc>
                <a:spcPct val="100000"/>
              </a:lnSpc>
              <a:defRPr/>
            </a:lvl1pPr>
          </a:lstStyle>
          <a:p>
            <a:r>
              <a:rPr lang="en-US" dirty="0"/>
              <a:t>Click to edit Master title style</a:t>
            </a:r>
          </a:p>
        </p:txBody>
      </p:sp>
      <p:sp>
        <p:nvSpPr>
          <p:cNvPr id="3" name="Content Placeholder 2"/>
          <p:cNvSpPr>
            <a:spLocks noGrp="1"/>
          </p:cNvSpPr>
          <p:nvPr>
            <p:ph idx="1"/>
          </p:nvPr>
        </p:nvSpPr>
        <p:spPr>
          <a:xfrm>
            <a:off x="360045" y="1565910"/>
            <a:ext cx="13954122" cy="587502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defTabSz="1097280">
              <a:defRPr/>
            </a:pPr>
            <a:fld id="{5FF77A7F-CD4B-4CF1-9820-FDB02CCB5FCE}" type="datetime1">
              <a:rPr lang="en-US" sz="1440" smtClean="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5" name="Footer Placeholder 4"/>
          <p:cNvSpPr>
            <a:spLocks noGrp="1"/>
          </p:cNvSpPr>
          <p:nvPr>
            <p:ph type="ftr" sz="quarter" idx="11"/>
          </p:nvPr>
        </p:nvSpPr>
        <p:spPr/>
        <p:txBody>
          <a:bodyPr/>
          <a:lstStyle/>
          <a:p>
            <a:pPr algn="ctr" defTabSz="1097280">
              <a:defRPr/>
            </a:pPr>
            <a:endParaRPr lang="en-US" sz="1440">
              <a:solidFill>
                <a:prstClr val="black">
                  <a:tint val="75000"/>
                </a:prstClr>
              </a:solidFill>
              <a:latin typeface="Arial" panose="020B0604020202020204"/>
            </a:endParaRPr>
          </a:p>
        </p:txBody>
      </p:sp>
      <p:sp>
        <p:nvSpPr>
          <p:cNvPr id="6" name="Slide Number Placeholder 5"/>
          <p:cNvSpPr>
            <a:spLocks noGrp="1"/>
          </p:cNvSpPr>
          <p:nvPr>
            <p:ph type="sldNum" sz="quarter" idx="12"/>
          </p:nvPr>
        </p:nvSpPr>
        <p:spPr/>
        <p:txBody>
          <a:bodyPr/>
          <a:lstStyle/>
          <a:p>
            <a:pPr algn="r" defTabSz="1097280">
              <a:defRPr/>
            </a:pPr>
            <a:fld id="{1DB6C988-4D17-4769-AFD6-9FA8E95C5F4D}" type="slidenum">
              <a:rPr lang="en-US" sz="1440" smtClean="0">
                <a:solidFill>
                  <a:prstClr val="black">
                    <a:tint val="75000"/>
                  </a:prstClr>
                </a:solidFill>
                <a:latin typeface="Arial" panose="020B0604020202020204"/>
              </a:rPr>
              <a:pPr algn="r" defTabSz="1097280">
                <a:defRPr/>
              </a:pPr>
              <a:t>‹#›</a:t>
            </a:fld>
            <a:endParaRPr lang="en-US" sz="1440">
              <a:solidFill>
                <a:prstClr val="black">
                  <a:tint val="75000"/>
                </a:prstClr>
              </a:solidFill>
              <a:latin typeface="Arial" panose="020B0604020202020204"/>
            </a:endParaRPr>
          </a:p>
        </p:txBody>
      </p:sp>
    </p:spTree>
    <p:extLst>
      <p:ext uri="{BB962C8B-B14F-4D97-AF65-F5344CB8AC3E}">
        <p14:creationId xmlns:p14="http://schemas.microsoft.com/office/powerpoint/2010/main" val="8567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1097280">
              <a:defRPr/>
            </a:pPr>
            <a:fld id="{FFA915CC-8CD6-41FC-8E94-7DE00D48C25A}" type="datetime1">
              <a:rPr lang="en-US" sz="1440" smtClean="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3" name="Footer Placeholder 2"/>
          <p:cNvSpPr>
            <a:spLocks noGrp="1"/>
          </p:cNvSpPr>
          <p:nvPr>
            <p:ph type="ftr" sz="quarter" idx="11"/>
          </p:nvPr>
        </p:nvSpPr>
        <p:spPr/>
        <p:txBody>
          <a:bodyPr/>
          <a:lstStyle/>
          <a:p>
            <a:pPr algn="ctr" defTabSz="1097280">
              <a:defRPr/>
            </a:pPr>
            <a:endParaRPr lang="en-US" sz="1440">
              <a:solidFill>
                <a:prstClr val="black">
                  <a:tint val="75000"/>
                </a:prstClr>
              </a:solidFill>
              <a:latin typeface="Arial" panose="020B0604020202020204"/>
            </a:endParaRPr>
          </a:p>
        </p:txBody>
      </p:sp>
      <p:sp>
        <p:nvSpPr>
          <p:cNvPr id="4" name="Slide Number Placeholder 3"/>
          <p:cNvSpPr>
            <a:spLocks noGrp="1"/>
          </p:cNvSpPr>
          <p:nvPr>
            <p:ph type="sldNum" sz="quarter" idx="12"/>
          </p:nvPr>
        </p:nvSpPr>
        <p:spPr/>
        <p:txBody>
          <a:bodyPr/>
          <a:lstStyle/>
          <a:p>
            <a:pPr algn="r" defTabSz="1097280">
              <a:defRPr/>
            </a:pPr>
            <a:fld id="{1DB6C988-4D17-4769-AFD6-9FA8E95C5F4D}" type="slidenum">
              <a:rPr lang="en-US" sz="1440" smtClean="0">
                <a:solidFill>
                  <a:prstClr val="black">
                    <a:tint val="75000"/>
                  </a:prstClr>
                </a:solidFill>
                <a:latin typeface="Arial" panose="020B0604020202020204"/>
              </a:rPr>
              <a:pPr algn="r" defTabSz="1097280">
                <a:defRPr/>
              </a:pPr>
              <a:t>‹#›</a:t>
            </a:fld>
            <a:endParaRPr lang="en-US" sz="1440">
              <a:solidFill>
                <a:prstClr val="black">
                  <a:tint val="75000"/>
                </a:prstClr>
              </a:solidFill>
              <a:latin typeface="Arial" panose="020B0604020202020204"/>
            </a:endParaRPr>
          </a:p>
        </p:txBody>
      </p:sp>
    </p:spTree>
    <p:extLst>
      <p:ext uri="{BB962C8B-B14F-4D97-AF65-F5344CB8AC3E}">
        <p14:creationId xmlns:p14="http://schemas.microsoft.com/office/powerpoint/2010/main" val="301047642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9.jpeg"/><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hyperlink" Target="http://apps.who.int/nha/database/ViewData/Indicators/en" TargetMode="Externa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4.sv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6B8CAE-2B63-4B32-A187-8D8141D53918}"/>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3104"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286B8CAE-2B63-4B32-A187-8D8141D53918}"/>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3" name="Subtitle 2"/>
          <p:cNvSpPr>
            <a:spLocks noGrp="1"/>
          </p:cNvSpPr>
          <p:nvPr>
            <p:ph type="subTitle" idx="1"/>
          </p:nvPr>
        </p:nvSpPr>
        <p:spPr>
          <a:xfrm>
            <a:off x="611598" y="2068643"/>
            <a:ext cx="13702570" cy="5488834"/>
          </a:xfrm>
          <a:prstGeom prst="foldedCorner">
            <a:avLst/>
          </a:prstGeom>
          <a:solidFill>
            <a:srgbClr val="006587">
              <a:alpha val="72000"/>
            </a:srgbClr>
          </a:solidFill>
        </p:spPr>
        <p:txBody>
          <a:bodyPr lIns="172800" tIns="475200" bIns="0" anchor="ctr">
            <a:noAutofit/>
          </a:bodyPr>
          <a:lstStyle/>
          <a:p>
            <a:pPr algn="l">
              <a:lnSpc>
                <a:spcPct val="100000"/>
              </a:lnSpc>
            </a:pPr>
            <a:r>
              <a:rPr lang="en-US" sz="3360" b="1" dirty="0">
                <a:solidFill>
                  <a:schemeClr val="bg1"/>
                </a:solidFill>
                <a:effectLst>
                  <a:outerShdw blurRad="63500" dist="50800" dir="5400000" sx="0" sy="0">
                    <a:srgbClr val="000000">
                      <a:alpha val="50000"/>
                    </a:srgbClr>
                  </a:outerShdw>
                </a:effectLst>
                <a:latin typeface="Arial" panose="020B0604020202020204" pitchFamily="34" charset="0"/>
                <a:cs typeface="Arial" panose="020B0604020202020204" pitchFamily="34" charset="0"/>
              </a:rPr>
              <a:t>Economics of Adolescent Sexual and Reproductive Health Interventions in Ghana and Senegal (</a:t>
            </a:r>
            <a:r>
              <a:rPr lang="en-US" sz="3360" b="1" dirty="0" err="1">
                <a:solidFill>
                  <a:schemeClr val="bg1"/>
                </a:solidFill>
                <a:effectLst>
                  <a:outerShdw blurRad="63500" dist="50800" dir="5400000" sx="0" sy="0">
                    <a:srgbClr val="000000">
                      <a:alpha val="50000"/>
                    </a:srgbClr>
                  </a:outerShdw>
                </a:effectLst>
                <a:latin typeface="Arial" panose="020B0604020202020204" pitchFamily="34" charset="0"/>
                <a:cs typeface="Arial" panose="020B0604020202020204" pitchFamily="34" charset="0"/>
              </a:rPr>
              <a:t>Ecasarh</a:t>
            </a:r>
            <a:r>
              <a:rPr lang="en-US" sz="3360" b="1" dirty="0">
                <a:solidFill>
                  <a:schemeClr val="bg1"/>
                </a:solidFill>
                <a:effectLst>
                  <a:outerShdw blurRad="63500" dist="50800" dir="5400000" sx="0" sy="0">
                    <a:srgbClr val="000000">
                      <a:alpha val="50000"/>
                    </a:srgbClr>
                  </a:outerShdw>
                </a:effectLst>
                <a:latin typeface="Arial" panose="020B0604020202020204" pitchFamily="34" charset="0"/>
                <a:cs typeface="Arial" panose="020B0604020202020204" pitchFamily="34" charset="0"/>
              </a:rPr>
              <a:t>)</a:t>
            </a:r>
          </a:p>
          <a:p>
            <a:pPr algn="l">
              <a:lnSpc>
                <a:spcPct val="100000"/>
              </a:lnSpc>
            </a:pPr>
            <a:endParaRPr lang="en-US" sz="3360" b="1" dirty="0">
              <a:solidFill>
                <a:schemeClr val="bg1"/>
              </a:solidFill>
              <a:effectLst>
                <a:outerShdw blurRad="63500" dist="50800" dir="5400000" sx="0" sy="0">
                  <a:srgbClr val="000000">
                    <a:alpha val="50000"/>
                  </a:srgbClr>
                </a:outerShdw>
              </a:effectLst>
              <a:latin typeface="Arial" panose="020B0604020202020204" pitchFamily="34" charset="0"/>
              <a:cs typeface="Arial" panose="020B0604020202020204" pitchFamily="34" charset="0"/>
            </a:endParaRPr>
          </a:p>
          <a:p>
            <a:r>
              <a:rPr lang="en-GB" b="1" dirty="0"/>
              <a:t>Webinar: International Health Economic Association (IHEA)- Economics of Children’s Health and Wellbeing SIG</a:t>
            </a:r>
          </a:p>
          <a:p>
            <a:endParaRPr lang="en-GB" b="1" dirty="0"/>
          </a:p>
          <a:p>
            <a:r>
              <a:rPr lang="en-GB" b="1" dirty="0">
                <a:solidFill>
                  <a:srgbClr val="D30000"/>
                </a:solidFill>
              </a:rPr>
              <a:t>7</a:t>
            </a:r>
            <a:r>
              <a:rPr lang="en-GB" b="1" baseline="30000" dirty="0">
                <a:solidFill>
                  <a:srgbClr val="D30000"/>
                </a:solidFill>
              </a:rPr>
              <a:t>th</a:t>
            </a:r>
            <a:r>
              <a:rPr lang="en-GB" b="1" dirty="0">
                <a:solidFill>
                  <a:srgbClr val="D30000"/>
                </a:solidFill>
              </a:rPr>
              <a:t> September, 2023</a:t>
            </a:r>
            <a:endParaRPr lang="en-GH" dirty="0">
              <a:solidFill>
                <a:srgbClr val="D30000"/>
              </a:solidFill>
            </a:endParaRPr>
          </a:p>
          <a:p>
            <a:pPr>
              <a:lnSpc>
                <a:spcPct val="100000"/>
              </a:lnSpc>
            </a:pPr>
            <a:endParaRPr lang="en-US" sz="2400" b="1" dirty="0">
              <a:solidFill>
                <a:schemeClr val="bg1"/>
              </a:solidFill>
              <a:effectLst>
                <a:outerShdw blurRad="63500" dist="50800" dir="5400000" sx="0" sy="0">
                  <a:srgbClr val="000000">
                    <a:alpha val="50000"/>
                  </a:srgbClr>
                </a:outerShdw>
              </a:effectLst>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1987AA98-A14C-4517-8436-2F869887F1A0}"/>
              </a:ext>
            </a:extLst>
          </p:cNvPr>
          <p:cNvSpPr/>
          <p:nvPr/>
        </p:nvSpPr>
        <p:spPr>
          <a:xfrm>
            <a:off x="10519299" y="612434"/>
            <a:ext cx="3434461" cy="54864"/>
          </a:xfrm>
          <a:prstGeom prst="rect">
            <a:avLst/>
          </a:pr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5" name="Rectangle 14">
            <a:extLst>
              <a:ext uri="{FF2B5EF4-FFF2-40B4-BE49-F238E27FC236}">
                <a16:creationId xmlns:a16="http://schemas.microsoft.com/office/drawing/2014/main" id="{5CF55388-8AF3-468B-B6A0-B2C634706B55}"/>
              </a:ext>
            </a:extLst>
          </p:cNvPr>
          <p:cNvSpPr/>
          <p:nvPr/>
        </p:nvSpPr>
        <p:spPr>
          <a:xfrm>
            <a:off x="10519299" y="7677970"/>
            <a:ext cx="3434461" cy="54864"/>
          </a:xfrm>
          <a:prstGeom prst="rect">
            <a:avLst/>
          </a:pr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8" name="Date Placeholder 17">
            <a:extLst>
              <a:ext uri="{FF2B5EF4-FFF2-40B4-BE49-F238E27FC236}">
                <a16:creationId xmlns:a16="http://schemas.microsoft.com/office/drawing/2014/main" id="{F696DAB0-434B-42A2-8BCF-DD0241058741}"/>
              </a:ext>
            </a:extLst>
          </p:cNvPr>
          <p:cNvSpPr>
            <a:spLocks noGrp="1"/>
          </p:cNvSpPr>
          <p:nvPr>
            <p:ph type="dt" sz="half" idx="10"/>
          </p:nvPr>
        </p:nvSpPr>
        <p:spPr/>
        <p:txBody>
          <a:bodyPr/>
          <a:lstStyle/>
          <a:p>
            <a:fld id="{35259E55-6BC2-4353-8288-7FE560ACCAE4}" type="datetime1">
              <a:rPr lang="en-US" smtClean="0"/>
              <a:t>9/6/23</a:t>
            </a:fld>
            <a:endParaRPr lang="en-US"/>
          </a:p>
        </p:txBody>
      </p:sp>
      <p:sp>
        <p:nvSpPr>
          <p:cNvPr id="19" name="Slide Number Placeholder 18">
            <a:extLst>
              <a:ext uri="{FF2B5EF4-FFF2-40B4-BE49-F238E27FC236}">
                <a16:creationId xmlns:a16="http://schemas.microsoft.com/office/drawing/2014/main" id="{6574A901-1515-4515-8207-B4E1B6FD61D7}"/>
              </a:ext>
            </a:extLst>
          </p:cNvPr>
          <p:cNvSpPr>
            <a:spLocks noGrp="1"/>
          </p:cNvSpPr>
          <p:nvPr>
            <p:ph type="sldNum" sz="quarter" idx="12"/>
          </p:nvPr>
        </p:nvSpPr>
        <p:spPr/>
        <p:txBody>
          <a:bodyPr/>
          <a:lstStyle/>
          <a:p>
            <a:fld id="{1DB6C988-4D17-4769-AFD6-9FA8E95C5F4D}" type="slidenum">
              <a:rPr lang="en-US" smtClean="0"/>
              <a:t>1</a:t>
            </a:fld>
            <a:endParaRPr lang="en-US"/>
          </a:p>
        </p:txBody>
      </p:sp>
      <p:pic>
        <p:nvPicPr>
          <p:cNvPr id="8" name="Picture 7">
            <a:extLst>
              <a:ext uri="{FF2B5EF4-FFF2-40B4-BE49-F238E27FC236}">
                <a16:creationId xmlns:a16="http://schemas.microsoft.com/office/drawing/2014/main" id="{F455D52D-7B19-42C9-884C-41AD7CA13C51}"/>
              </a:ext>
            </a:extLst>
          </p:cNvPr>
          <p:cNvPicPr/>
          <p:nvPr/>
        </p:nvPicPr>
        <p:blipFill rotWithShape="1">
          <a:blip r:embed="rId6"/>
          <a:srcRect l="5983" t="12015" r="6271" b="70258"/>
          <a:stretch/>
        </p:blipFill>
        <p:spPr bwMode="auto">
          <a:xfrm>
            <a:off x="611599" y="276674"/>
            <a:ext cx="13702568" cy="176679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81393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1097280">
              <a:defRPr/>
            </a:pPr>
            <a:fld id="{5FF77A7F-CD4B-4CF1-9820-FDB02CCB5FCE}"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5" name="Slide Number Placeholder 4"/>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10</a:t>
            </a:fld>
            <a:endParaRPr lang="en-US" sz="1440">
              <a:solidFill>
                <a:prstClr val="black">
                  <a:tint val="75000"/>
                </a:prstClr>
              </a:solidFill>
              <a:latin typeface="Arial" panose="020B0604020202020204"/>
            </a:endParaRPr>
          </a:p>
        </p:txBody>
      </p:sp>
      <p:graphicFrame>
        <p:nvGraphicFramePr>
          <p:cNvPr id="6" name="Diagram 5"/>
          <p:cNvGraphicFramePr/>
          <p:nvPr>
            <p:extLst>
              <p:ext uri="{D42A27DB-BD31-4B8C-83A1-F6EECF244321}">
                <p14:modId xmlns:p14="http://schemas.microsoft.com/office/powerpoint/2010/main" val="919097426"/>
              </p:ext>
            </p:extLst>
          </p:nvPr>
        </p:nvGraphicFramePr>
        <p:xfrm>
          <a:off x="718339" y="2079468"/>
          <a:ext cx="13599077" cy="21674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571381" y="1125221"/>
            <a:ext cx="3309828" cy="452175"/>
          </a:xfrm>
          <a:prstGeom prst="rect">
            <a:avLst/>
          </a:prstGeom>
        </p:spPr>
        <p:txBody>
          <a:bodyPr wrap="square">
            <a:spAutoFit/>
          </a:bodyPr>
          <a:lstStyle/>
          <a:p>
            <a:pPr>
              <a:lnSpc>
                <a:spcPct val="115000"/>
              </a:lnSpc>
            </a:pPr>
            <a:r>
              <a:rPr lang="en-US" sz="2160" b="1" dirty="0">
                <a:solidFill>
                  <a:srgbClr val="231F20"/>
                </a:solidFill>
                <a:latin typeface="Calibri" panose="020F0502020204030204" pitchFamily="34" charset="0"/>
                <a:ea typeface="Calibri" panose="020F0502020204030204" pitchFamily="34" charset="0"/>
                <a:cs typeface="Calibri" panose="020F0502020204030204" pitchFamily="34" charset="0"/>
              </a:rPr>
              <a:t>CROSS-CUTTING CRITERIA</a:t>
            </a:r>
            <a:endParaRPr lang="en-US" sz="2160" dirty="0">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026754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398" cy="82288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300180"/>
            <a:ext cx="426237" cy="808152"/>
            <a:chOff x="0" y="823811"/>
            <a:chExt cx="355196" cy="673460"/>
          </a:xfrm>
        </p:grpSpPr>
        <p:sp>
          <p:nvSpPr>
            <p:cNvPr id="19" name="Rectangle 18">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2" name="Rectangle 21">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8102" y="2508682"/>
            <a:ext cx="5157216" cy="329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8FAA58C-88C4-464C-99AA-C016249BEFCB}"/>
              </a:ext>
            </a:extLst>
          </p:cNvPr>
          <p:cNvSpPr>
            <a:spLocks noGrp="1"/>
          </p:cNvSpPr>
          <p:nvPr>
            <p:ph idx="1"/>
          </p:nvPr>
        </p:nvSpPr>
        <p:spPr>
          <a:xfrm>
            <a:off x="708862" y="2796606"/>
            <a:ext cx="5471310" cy="4775502"/>
          </a:xfrm>
        </p:spPr>
        <p:txBody>
          <a:bodyPr anchor="ctr">
            <a:normAutofit/>
          </a:bodyPr>
          <a:lstStyle/>
          <a:p>
            <a:pPr marL="0" indent="0">
              <a:buNone/>
            </a:pPr>
            <a:r>
              <a:rPr lang="en-GH" sz="5400" dirty="0"/>
              <a:t>Ghana</a:t>
            </a:r>
          </a:p>
          <a:p>
            <a:pPr marL="0" indent="0">
              <a:buNone/>
            </a:pPr>
            <a:r>
              <a:rPr lang="en-GH" sz="4000" dirty="0">
                <a:solidFill>
                  <a:schemeClr val="accent1">
                    <a:lumMod val="75000"/>
                  </a:schemeClr>
                </a:solidFill>
              </a:rPr>
              <a:t>7 interventions identified</a:t>
            </a:r>
          </a:p>
          <a:p>
            <a:pPr marL="0" indent="0">
              <a:buNone/>
            </a:pPr>
            <a:r>
              <a:rPr lang="en-GH" sz="4000" dirty="0">
                <a:solidFill>
                  <a:srgbClr val="C00000"/>
                </a:solidFill>
              </a:rPr>
              <a:t>4</a:t>
            </a:r>
            <a:r>
              <a:rPr lang="en-GH" sz="4000" dirty="0">
                <a:solidFill>
                  <a:schemeClr val="accent1">
                    <a:lumMod val="75000"/>
                  </a:schemeClr>
                </a:solidFill>
              </a:rPr>
              <a:t> prioritised for costing</a:t>
            </a:r>
          </a:p>
        </p:txBody>
      </p:sp>
      <p:sp>
        <p:nvSpPr>
          <p:cNvPr id="24" name="Rectangle 23">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2837204" y="0"/>
            <a:ext cx="1793196" cy="8229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822972" y="616623"/>
            <a:ext cx="7211239" cy="7001493"/>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Health insurance in Ghana">
            <a:extLst>
              <a:ext uri="{FF2B5EF4-FFF2-40B4-BE49-F238E27FC236}">
                <a16:creationId xmlns:a16="http://schemas.microsoft.com/office/drawing/2014/main" id="{ADC2F485-B1C8-5547-A644-330A1268DE8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035" r="20787" b="2"/>
          <a:stretch/>
        </p:blipFill>
        <p:spPr bwMode="auto">
          <a:xfrm>
            <a:off x="7173345" y="959222"/>
            <a:ext cx="6510492" cy="6311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68624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1097280">
              <a:defRPr/>
            </a:pPr>
            <a:fld id="{5FF77A7F-CD4B-4CF1-9820-FDB02CCB5FCE}"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5" name="Slide Number Placeholder 4"/>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12</a:t>
            </a:fld>
            <a:endParaRPr lang="en-US" sz="1440">
              <a:solidFill>
                <a:prstClr val="black">
                  <a:tint val="75000"/>
                </a:prstClr>
              </a:solidFill>
              <a:latin typeface="Arial" panose="020B0604020202020204"/>
            </a:endParaRP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1213387291"/>
              </p:ext>
            </p:extLst>
          </p:nvPr>
        </p:nvGraphicFramePr>
        <p:xfrm>
          <a:off x="360046" y="322326"/>
          <a:ext cx="14084477" cy="7934872"/>
        </p:xfrm>
        <a:graphic>
          <a:graphicData uri="http://schemas.openxmlformats.org/drawingml/2006/table">
            <a:tbl>
              <a:tblPr firstRow="1" firstCol="1" bandRow="1">
                <a:tableStyleId>{5C22544A-7EE6-4342-B048-85BDC9FD1C3A}</a:tableStyleId>
              </a:tblPr>
              <a:tblGrid>
                <a:gridCol w="577369">
                  <a:extLst>
                    <a:ext uri="{9D8B030D-6E8A-4147-A177-3AD203B41FA5}">
                      <a16:colId xmlns:a16="http://schemas.microsoft.com/office/drawing/2014/main" val="998347822"/>
                    </a:ext>
                  </a:extLst>
                </a:gridCol>
                <a:gridCol w="1943066">
                  <a:extLst>
                    <a:ext uri="{9D8B030D-6E8A-4147-A177-3AD203B41FA5}">
                      <a16:colId xmlns:a16="http://schemas.microsoft.com/office/drawing/2014/main" val="517767274"/>
                    </a:ext>
                  </a:extLst>
                </a:gridCol>
                <a:gridCol w="2227315">
                  <a:extLst>
                    <a:ext uri="{9D8B030D-6E8A-4147-A177-3AD203B41FA5}">
                      <a16:colId xmlns:a16="http://schemas.microsoft.com/office/drawing/2014/main" val="3453063458"/>
                    </a:ext>
                  </a:extLst>
                </a:gridCol>
                <a:gridCol w="2497122">
                  <a:extLst>
                    <a:ext uri="{9D8B030D-6E8A-4147-A177-3AD203B41FA5}">
                      <a16:colId xmlns:a16="http://schemas.microsoft.com/office/drawing/2014/main" val="1421860930"/>
                    </a:ext>
                  </a:extLst>
                </a:gridCol>
                <a:gridCol w="1953062">
                  <a:extLst>
                    <a:ext uri="{9D8B030D-6E8A-4147-A177-3AD203B41FA5}">
                      <a16:colId xmlns:a16="http://schemas.microsoft.com/office/drawing/2014/main" val="3776144971"/>
                    </a:ext>
                  </a:extLst>
                </a:gridCol>
                <a:gridCol w="3233267">
                  <a:extLst>
                    <a:ext uri="{9D8B030D-6E8A-4147-A177-3AD203B41FA5}">
                      <a16:colId xmlns:a16="http://schemas.microsoft.com/office/drawing/2014/main" val="1696209524"/>
                    </a:ext>
                  </a:extLst>
                </a:gridCol>
                <a:gridCol w="1653276">
                  <a:extLst>
                    <a:ext uri="{9D8B030D-6E8A-4147-A177-3AD203B41FA5}">
                      <a16:colId xmlns:a16="http://schemas.microsoft.com/office/drawing/2014/main" val="741629028"/>
                    </a:ext>
                  </a:extLst>
                </a:gridCol>
              </a:tblGrid>
              <a:tr h="607619">
                <a:tc>
                  <a:txBody>
                    <a:bodyPr/>
                    <a:lstStyle/>
                    <a:p>
                      <a:pPr marL="0" marR="0">
                        <a:lnSpc>
                          <a:spcPct val="107000"/>
                        </a:lnSpc>
                        <a:spcBef>
                          <a:spcPts val="0"/>
                        </a:spcBef>
                        <a:spcAft>
                          <a:spcPts val="800"/>
                        </a:spcAft>
                      </a:pPr>
                      <a:br>
                        <a:rPr lang="en-CA" sz="1200" dirty="0">
                          <a:effectLst/>
                        </a:rPr>
                      </a:br>
                      <a:r>
                        <a:rPr lang="en-CA" sz="1200" dirty="0">
                          <a:effectLst/>
                        </a:rPr>
                        <a:t>No.</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br>
                        <a:rPr lang="en-CA" sz="1200" dirty="0">
                          <a:effectLst/>
                        </a:rPr>
                      </a:br>
                      <a:r>
                        <a:rPr lang="en-CA" sz="1200" dirty="0">
                          <a:effectLst/>
                        </a:rPr>
                        <a:t>Interven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Targeting social determina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proximal social </a:t>
                      </a:r>
                    </a:p>
                    <a:p>
                      <a:pPr marL="0" marR="0">
                        <a:lnSpc>
                          <a:spcPct val="107000"/>
                        </a:lnSpc>
                        <a:spcBef>
                          <a:spcPts val="0"/>
                        </a:spcBef>
                        <a:spcAft>
                          <a:spcPts val="800"/>
                        </a:spcAft>
                      </a:pPr>
                      <a:r>
                        <a:rPr lang="en-US" sz="1200" dirty="0">
                          <a:effectLst/>
                        </a:rPr>
                        <a:t>determinants (community suppor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knowledge, behaviour </a:t>
                      </a:r>
                    </a:p>
                    <a:p>
                      <a:pPr marL="0" marR="0">
                        <a:lnSpc>
                          <a:spcPct val="107000"/>
                        </a:lnSpc>
                        <a:spcBef>
                          <a:spcPts val="0"/>
                        </a:spcBef>
                        <a:spcAft>
                          <a:spcPts val="800"/>
                        </a:spcAft>
                      </a:pPr>
                      <a:r>
                        <a:rPr lang="en-US" sz="1200" dirty="0">
                          <a:effectLst/>
                        </a:rPr>
                        <a:t>and lifestyl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adolescents </a:t>
                      </a:r>
                    </a:p>
                    <a:p>
                      <a:pPr marL="0" marR="0">
                        <a:lnSpc>
                          <a:spcPct val="107000"/>
                        </a:lnSpc>
                        <a:spcBef>
                          <a:spcPts val="0"/>
                        </a:spcBef>
                        <a:spcAft>
                          <a:spcPts val="800"/>
                        </a:spcAft>
                      </a:pPr>
                      <a:r>
                        <a:rPr lang="en-US" sz="1200" dirty="0">
                          <a:effectLst/>
                        </a:rPr>
                        <a:t>and youth health problem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Key Implementers and Funding Agenci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4110451795"/>
                  </a:ext>
                </a:extLst>
              </a:tr>
              <a:tr h="1995672">
                <a:tc>
                  <a:txBody>
                    <a:bodyPr/>
                    <a:lstStyle/>
                    <a:p>
                      <a:pPr marL="0" marR="0">
                        <a:lnSpc>
                          <a:spcPct val="107000"/>
                        </a:lnSpc>
                        <a:spcBef>
                          <a:spcPts val="0"/>
                        </a:spcBef>
                        <a:spcAft>
                          <a:spcPts val="800"/>
                        </a:spcAft>
                      </a:pPr>
                      <a:r>
                        <a:rPr lang="en-CA" sz="1200">
                          <a:effectLst/>
                        </a:rPr>
                        <a:t>1</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2000" dirty="0">
                          <a:effectLst/>
                        </a:rPr>
                        <a:t>Adolescent Clubs</a:t>
                      </a:r>
                      <a:endParaRPr lang="en-US" sz="2000" dirty="0">
                        <a:effectLst/>
                      </a:endParaRPr>
                    </a:p>
                    <a:p>
                      <a:pPr marL="0" marR="0">
                        <a:lnSpc>
                          <a:spcPct val="107000"/>
                        </a:lnSpc>
                        <a:spcBef>
                          <a:spcPts val="0"/>
                        </a:spcBef>
                        <a:spcAft>
                          <a:spcPts val="800"/>
                        </a:spcAft>
                      </a:pPr>
                      <a:r>
                        <a:rPr lang="en-CA"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Peer education and mentorship</a:t>
                      </a:r>
                      <a:endParaRPr lang="en-US" sz="1400" dirty="0">
                        <a:effectLst/>
                      </a:endParaRPr>
                    </a:p>
                    <a:p>
                      <a:pPr marL="0" marR="0">
                        <a:lnSpc>
                          <a:spcPct val="107000"/>
                        </a:lnSpc>
                        <a:spcBef>
                          <a:spcPts val="0"/>
                        </a:spcBef>
                        <a:spcAft>
                          <a:spcPts val="800"/>
                        </a:spcAft>
                      </a:pPr>
                      <a:r>
                        <a:rPr lang="en-CA"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Program engages schools and the communiti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Health promotion</a:t>
                      </a:r>
                      <a:endParaRPr lang="en-US" sz="1400" dirty="0">
                        <a:effectLst/>
                      </a:endParaRPr>
                    </a:p>
                    <a:p>
                      <a:pPr marL="0" marR="0">
                        <a:lnSpc>
                          <a:spcPct val="107000"/>
                        </a:lnSpc>
                        <a:spcBef>
                          <a:spcPts val="0"/>
                        </a:spcBef>
                        <a:spcAft>
                          <a:spcPts val="800"/>
                        </a:spcAft>
                      </a:pPr>
                      <a:r>
                        <a:rPr lang="en-CA" sz="1400" dirty="0">
                          <a:effectLst/>
                        </a:rPr>
                        <a:t>Youth empowerment through participation</a:t>
                      </a:r>
                      <a:endParaRPr lang="en-US" sz="1400" dirty="0">
                        <a:effectLst/>
                      </a:endParaRPr>
                    </a:p>
                    <a:p>
                      <a:pPr marL="0" marR="0">
                        <a:lnSpc>
                          <a:spcPct val="107000"/>
                        </a:lnSpc>
                        <a:spcBef>
                          <a:spcPts val="0"/>
                        </a:spcBef>
                        <a:spcAft>
                          <a:spcPts val="800"/>
                        </a:spcAft>
                      </a:pPr>
                      <a:r>
                        <a:rPr lang="en-CA" sz="1400" dirty="0">
                          <a:effectLst/>
                        </a:rPr>
                        <a:t>Positive peer pressure</a:t>
                      </a:r>
                      <a:endParaRPr lang="en-US" sz="1400" dirty="0">
                        <a:effectLst/>
                      </a:endParaRPr>
                    </a:p>
                    <a:p>
                      <a:pPr marL="0" marR="0">
                        <a:lnSpc>
                          <a:spcPct val="107000"/>
                        </a:lnSpc>
                        <a:spcBef>
                          <a:spcPts val="0"/>
                        </a:spcBef>
                        <a:spcAft>
                          <a:spcPts val="800"/>
                        </a:spcAft>
                      </a:pPr>
                      <a:r>
                        <a:rPr lang="en-CA"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Improved access and use of adolescent and youth-friendly health services </a:t>
                      </a:r>
                      <a:endParaRPr lang="en-US" sz="1400" dirty="0">
                        <a:effectLst/>
                      </a:endParaRPr>
                    </a:p>
                    <a:p>
                      <a:pPr marL="0" marR="0">
                        <a:lnSpc>
                          <a:spcPct val="107000"/>
                        </a:lnSpc>
                        <a:spcBef>
                          <a:spcPts val="0"/>
                        </a:spcBef>
                        <a:spcAft>
                          <a:spcPts val="800"/>
                        </a:spcAft>
                      </a:pPr>
                      <a:r>
                        <a:rPr lang="en-CA" sz="1400" dirty="0">
                          <a:effectLst/>
                        </a:rPr>
                        <a:t>Young people are trained and mentored by health service providers to be Health Ambassadors who promote health and development in their schools and communities using all available channels to engage their peers and other stakeholders.</a:t>
                      </a:r>
                      <a:endParaRPr lang="en-US" sz="1400" dirty="0">
                        <a:effectLst/>
                      </a:endParaRPr>
                    </a:p>
                    <a:p>
                      <a:pPr marL="0" marR="0">
                        <a:lnSpc>
                          <a:spcPct val="107000"/>
                        </a:lnSpc>
                        <a:spcBef>
                          <a:spcPts val="0"/>
                        </a:spcBef>
                        <a:spcAft>
                          <a:spcPts val="800"/>
                        </a:spcAft>
                      </a:pPr>
                      <a:r>
                        <a:rPr lang="en-CA" sz="1400" dirty="0">
                          <a:effectLst/>
                        </a:rPr>
                        <a:t>Roll out is across the country.</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UNICEF, UNFPA Marie-Stopes International (MSI)</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251082579"/>
                  </a:ext>
                </a:extLst>
              </a:tr>
              <a:tr h="2509110">
                <a:tc>
                  <a:txBody>
                    <a:bodyPr/>
                    <a:lstStyle/>
                    <a:p>
                      <a:pPr marL="0" marR="0">
                        <a:lnSpc>
                          <a:spcPct val="107000"/>
                        </a:lnSpc>
                        <a:spcBef>
                          <a:spcPts val="0"/>
                        </a:spcBef>
                        <a:spcAft>
                          <a:spcPts val="800"/>
                        </a:spcAft>
                      </a:pPr>
                      <a:r>
                        <a:rPr lang="en-CA" sz="1200">
                          <a:effectLst/>
                        </a:rPr>
                        <a:t>2</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2000" dirty="0">
                          <a:effectLst/>
                        </a:rPr>
                        <a:t>Safety Net program</a:t>
                      </a:r>
                      <a:endParaRPr lang="en-US" sz="2000" dirty="0">
                        <a:effectLst/>
                      </a:endParaRPr>
                    </a:p>
                    <a:p>
                      <a:pPr marL="0" marR="0">
                        <a:lnSpc>
                          <a:spcPct val="107000"/>
                        </a:lnSpc>
                        <a:spcBef>
                          <a:spcPts val="0"/>
                        </a:spcBef>
                        <a:spcAft>
                          <a:spcPts val="800"/>
                        </a:spcAft>
                      </a:pPr>
                      <a:r>
                        <a:rPr lang="en-CA"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Ensure universal education for girls so that pregnant adolescents return to school, and ensure that policies and legislation enable adolescent girls to give consent for tests and treatment.</a:t>
                      </a:r>
                      <a:endParaRPr lang="en-US" sz="1400" dirty="0">
                        <a:effectLst/>
                      </a:endParaRPr>
                    </a:p>
                  </a:txBody>
                  <a:tcPr marL="59908" marR="59908" marT="0" marB="0"/>
                </a:tc>
                <a:tc>
                  <a:txBody>
                    <a:bodyPr/>
                    <a:lstStyle/>
                    <a:p>
                      <a:pPr marL="0" marR="0">
                        <a:lnSpc>
                          <a:spcPct val="107000"/>
                        </a:lnSpc>
                        <a:spcBef>
                          <a:spcPts val="0"/>
                        </a:spcBef>
                        <a:spcAft>
                          <a:spcPts val="800"/>
                        </a:spcAft>
                      </a:pPr>
                      <a:r>
                        <a:rPr lang="en-CA" sz="1400" dirty="0">
                          <a:effectLst/>
                        </a:rPr>
                        <a:t>Provide social support for pregnant adolescents, especially those who are very young.</a:t>
                      </a:r>
                      <a:endParaRPr lang="en-US" sz="1400" dirty="0">
                        <a:effectLst/>
                      </a:endParaRPr>
                    </a:p>
                    <a:p>
                      <a:pPr marL="0" marR="0">
                        <a:lnSpc>
                          <a:spcPct val="107000"/>
                        </a:lnSpc>
                        <a:spcBef>
                          <a:spcPts val="0"/>
                        </a:spcBef>
                        <a:spcAft>
                          <a:spcPts val="800"/>
                        </a:spcAft>
                      </a:pPr>
                      <a:r>
                        <a:rPr lang="en-CA"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Provide information about rights and choices for adolescents, including sexuality education for all adolescents.</a:t>
                      </a:r>
                      <a:endParaRPr lang="en-US" sz="1400" dirty="0">
                        <a:effectLst/>
                      </a:endParaRPr>
                    </a:p>
                    <a:p>
                      <a:pPr marL="0" marR="0">
                        <a:lnSpc>
                          <a:spcPct val="107000"/>
                        </a:lnSpc>
                        <a:spcBef>
                          <a:spcPts val="0"/>
                        </a:spcBef>
                        <a:spcAft>
                          <a:spcPts val="800"/>
                        </a:spcAft>
                      </a:pPr>
                      <a:r>
                        <a:rPr lang="en-CA"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The GHS designed the “Safety net” programme to provide a comprehensive plan of care for adolescent pregnant girls and is being piloted in the </a:t>
                      </a:r>
                      <a:r>
                        <a:rPr lang="en-CA" sz="1400" dirty="0" err="1">
                          <a:effectLst/>
                        </a:rPr>
                        <a:t>Tolon</a:t>
                      </a:r>
                      <a:r>
                        <a:rPr lang="en-CA" sz="1400" dirty="0">
                          <a:effectLst/>
                        </a:rPr>
                        <a:t>, </a:t>
                      </a:r>
                      <a:r>
                        <a:rPr lang="en-CA" sz="1400" dirty="0" err="1">
                          <a:effectLst/>
                        </a:rPr>
                        <a:t>Kpandai</a:t>
                      </a:r>
                      <a:r>
                        <a:rPr lang="en-CA" sz="1400" dirty="0">
                          <a:effectLst/>
                        </a:rPr>
                        <a:t>, North Dayi, </a:t>
                      </a:r>
                      <a:r>
                        <a:rPr lang="en-CA" sz="1400" dirty="0" err="1">
                          <a:effectLst/>
                        </a:rPr>
                        <a:t>Krachi</a:t>
                      </a:r>
                      <a:r>
                        <a:rPr lang="en-CA" sz="1400" dirty="0">
                          <a:effectLst/>
                        </a:rPr>
                        <a:t> East and Ketu South districts.</a:t>
                      </a:r>
                      <a:endParaRPr lang="en-US" sz="1400" dirty="0">
                        <a:effectLst/>
                      </a:endParaRPr>
                    </a:p>
                    <a:p>
                      <a:pPr marL="0" marR="0">
                        <a:lnSpc>
                          <a:spcPct val="107000"/>
                        </a:lnSpc>
                        <a:spcBef>
                          <a:spcPts val="0"/>
                        </a:spcBef>
                        <a:spcAft>
                          <a:spcPts val="800"/>
                        </a:spcAft>
                      </a:pPr>
                      <a:r>
                        <a:rPr lang="en-CA" sz="1400" dirty="0">
                          <a:effectLst/>
                        </a:rPr>
                        <a:t>Make pregnancy, childbirth and post delivery services more accessible to adolescents and more responsive to their needs (adolescent friendly).</a:t>
                      </a:r>
                      <a:endParaRPr lang="en-US" sz="1400" dirty="0">
                        <a:effectLst/>
                      </a:endParaRPr>
                    </a:p>
                    <a:p>
                      <a:pPr marL="0" marR="0">
                        <a:lnSpc>
                          <a:spcPct val="107000"/>
                        </a:lnSpc>
                        <a:spcBef>
                          <a:spcPts val="0"/>
                        </a:spcBef>
                        <a:spcAft>
                          <a:spcPts val="800"/>
                        </a:spcAft>
                      </a:pPr>
                      <a:r>
                        <a:rPr lang="en-CA" sz="1400" dirty="0">
                          <a:effectLst/>
                        </a:rPr>
                        <a:t>Restricted to 8 districts in 2 regions</a:t>
                      </a:r>
                      <a:endParaRPr lang="en-US" sz="1400" dirty="0">
                        <a:effectLst/>
                      </a:endParaRPr>
                    </a:p>
                  </a:txBody>
                  <a:tcPr marL="59908" marR="59908" marT="0" marB="0"/>
                </a:tc>
                <a:tc>
                  <a:txBody>
                    <a:bodyPr/>
                    <a:lstStyle/>
                    <a:p>
                      <a:pPr marL="0" marR="0">
                        <a:lnSpc>
                          <a:spcPct val="107000"/>
                        </a:lnSpc>
                        <a:spcBef>
                          <a:spcPts val="0"/>
                        </a:spcBef>
                        <a:spcAft>
                          <a:spcPts val="800"/>
                        </a:spcAft>
                      </a:pPr>
                      <a:r>
                        <a:rPr lang="en-CA" sz="1400" dirty="0">
                          <a:effectLst/>
                        </a:rPr>
                        <a:t>UNICEF, UNFPA and other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2905124230"/>
                  </a:ext>
                </a:extLst>
              </a:tr>
              <a:tr h="2118208">
                <a:tc>
                  <a:txBody>
                    <a:bodyPr/>
                    <a:lstStyle/>
                    <a:p>
                      <a:pPr marL="0" marR="0">
                        <a:lnSpc>
                          <a:spcPct val="107000"/>
                        </a:lnSpc>
                        <a:spcBef>
                          <a:spcPts val="0"/>
                        </a:spcBef>
                        <a:spcAft>
                          <a:spcPts val="800"/>
                        </a:spcAft>
                      </a:pPr>
                      <a:r>
                        <a:rPr lang="en-CA" sz="1200">
                          <a:effectLst/>
                        </a:rPr>
                        <a:t>3</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2000" dirty="0">
                          <a:effectLst/>
                        </a:rPr>
                        <a:t>Ghana Adolescent Reproductive Health (ARH) Programme</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To increase the number of girls who transition to senior secondary school</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Program uses adolescent–parent dialogue meetings as an effective fora for mobilising communal ac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To reduce the teenage pregnancy rat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To strengthen reproductive health in Ghana, with a focus on adolescents</a:t>
                      </a:r>
                      <a:endParaRPr lang="en-US" sz="1400" dirty="0">
                        <a:effectLst/>
                      </a:endParaRPr>
                    </a:p>
                    <a:p>
                      <a:pPr marL="0" marR="0">
                        <a:lnSpc>
                          <a:spcPct val="107000"/>
                        </a:lnSpc>
                        <a:spcBef>
                          <a:spcPts val="0"/>
                        </a:spcBef>
                        <a:spcAft>
                          <a:spcPts val="800"/>
                        </a:spcAft>
                      </a:pPr>
                      <a:r>
                        <a:rPr lang="en-CA" sz="1400" dirty="0">
                          <a:effectLst/>
                        </a:rPr>
                        <a:t>Increase uptake of postpartum family planning services among adolescent mothers</a:t>
                      </a:r>
                      <a:endParaRPr lang="en-US" sz="1400" dirty="0">
                        <a:effectLst/>
                      </a:endParaRPr>
                    </a:p>
                    <a:p>
                      <a:pPr marL="0" marR="0">
                        <a:lnSpc>
                          <a:spcPct val="107000"/>
                        </a:lnSpc>
                        <a:spcBef>
                          <a:spcPts val="0"/>
                        </a:spcBef>
                        <a:spcAft>
                          <a:spcPts val="800"/>
                        </a:spcAft>
                      </a:pPr>
                      <a:r>
                        <a:rPr lang="en-CA" sz="1400" dirty="0">
                          <a:effectLst/>
                        </a:rPr>
                        <a:t>Service delivery and operational research: this component delivers ASRH services in 27 districts of </a:t>
                      </a:r>
                      <a:r>
                        <a:rPr lang="en-CA" sz="1400" dirty="0" err="1">
                          <a:effectLst/>
                        </a:rPr>
                        <a:t>Brong</a:t>
                      </a:r>
                      <a:r>
                        <a:rPr lang="en-CA" sz="1400" dirty="0">
                          <a:effectLst/>
                        </a:rPr>
                        <a:t> Ahafo Region</a:t>
                      </a:r>
                      <a:endParaRPr lang="en-US" sz="1400" dirty="0">
                        <a:effectLst/>
                      </a:endParaRPr>
                    </a:p>
                  </a:txBody>
                  <a:tcPr marL="59908" marR="59908" marT="0" marB="0"/>
                </a:tc>
                <a:tc>
                  <a:txBody>
                    <a:bodyPr/>
                    <a:lstStyle/>
                    <a:p>
                      <a:pPr marL="0" marR="0">
                        <a:lnSpc>
                          <a:spcPct val="107000"/>
                        </a:lnSpc>
                        <a:spcBef>
                          <a:spcPts val="0"/>
                        </a:spcBef>
                        <a:spcAft>
                          <a:spcPts val="800"/>
                        </a:spcAft>
                      </a:pPr>
                      <a:r>
                        <a:rPr lang="en-CA" sz="1400" dirty="0">
                          <a:effectLst/>
                        </a:rPr>
                        <a:t>DFID with the implementing partners being NPC, GES and FHD of GH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931758844"/>
                  </a:ext>
                </a:extLst>
              </a:tr>
            </a:tbl>
          </a:graphicData>
        </a:graphic>
      </p:graphicFrame>
    </p:spTree>
    <p:extLst>
      <p:ext uri="{BB962C8B-B14F-4D97-AF65-F5344CB8AC3E}">
        <p14:creationId xmlns:p14="http://schemas.microsoft.com/office/powerpoint/2010/main" val="24229739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1097280">
              <a:defRPr/>
            </a:pPr>
            <a:fld id="{5FF77A7F-CD4B-4CF1-9820-FDB02CCB5FCE}"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5" name="Slide Number Placeholder 4"/>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13</a:t>
            </a:fld>
            <a:endParaRPr lang="en-US" sz="1440">
              <a:solidFill>
                <a:prstClr val="black">
                  <a:tint val="75000"/>
                </a:prstClr>
              </a:solidFill>
              <a:latin typeface="Arial" panose="020B0604020202020204"/>
            </a:endParaRPr>
          </a:p>
        </p:txBody>
      </p:sp>
      <p:graphicFrame>
        <p:nvGraphicFramePr>
          <p:cNvPr id="8" name="Table 7"/>
          <p:cNvGraphicFramePr>
            <a:graphicFrameLocks noGrp="1"/>
          </p:cNvGraphicFramePr>
          <p:nvPr>
            <p:extLst>
              <p:ext uri="{D42A27DB-BD31-4B8C-83A1-F6EECF244321}">
                <p14:modId xmlns:p14="http://schemas.microsoft.com/office/powerpoint/2010/main" val="278821438"/>
              </p:ext>
            </p:extLst>
          </p:nvPr>
        </p:nvGraphicFramePr>
        <p:xfrm>
          <a:off x="292420" y="191368"/>
          <a:ext cx="14021749" cy="7418211"/>
        </p:xfrm>
        <a:graphic>
          <a:graphicData uri="http://schemas.openxmlformats.org/drawingml/2006/table">
            <a:tbl>
              <a:tblPr firstRow="1" firstCol="1" bandRow="1">
                <a:tableStyleId>{5C22544A-7EE6-4342-B048-85BDC9FD1C3A}</a:tableStyleId>
              </a:tblPr>
              <a:tblGrid>
                <a:gridCol w="574799">
                  <a:extLst>
                    <a:ext uri="{9D8B030D-6E8A-4147-A177-3AD203B41FA5}">
                      <a16:colId xmlns:a16="http://schemas.microsoft.com/office/drawing/2014/main" val="2516974555"/>
                    </a:ext>
                  </a:extLst>
                </a:gridCol>
                <a:gridCol w="2398495">
                  <a:extLst>
                    <a:ext uri="{9D8B030D-6E8A-4147-A177-3AD203B41FA5}">
                      <a16:colId xmlns:a16="http://schemas.microsoft.com/office/drawing/2014/main" val="3371851953"/>
                    </a:ext>
                  </a:extLst>
                </a:gridCol>
                <a:gridCol w="2139043">
                  <a:extLst>
                    <a:ext uri="{9D8B030D-6E8A-4147-A177-3AD203B41FA5}">
                      <a16:colId xmlns:a16="http://schemas.microsoft.com/office/drawing/2014/main" val="1008998951"/>
                    </a:ext>
                  </a:extLst>
                </a:gridCol>
                <a:gridCol w="2100269">
                  <a:extLst>
                    <a:ext uri="{9D8B030D-6E8A-4147-A177-3AD203B41FA5}">
                      <a16:colId xmlns:a16="http://schemas.microsoft.com/office/drawing/2014/main" val="2978566592"/>
                    </a:ext>
                  </a:extLst>
                </a:gridCol>
                <a:gridCol w="1753274">
                  <a:extLst>
                    <a:ext uri="{9D8B030D-6E8A-4147-A177-3AD203B41FA5}">
                      <a16:colId xmlns:a16="http://schemas.microsoft.com/office/drawing/2014/main" val="493752790"/>
                    </a:ext>
                  </a:extLst>
                </a:gridCol>
                <a:gridCol w="3167743">
                  <a:extLst>
                    <a:ext uri="{9D8B030D-6E8A-4147-A177-3AD203B41FA5}">
                      <a16:colId xmlns:a16="http://schemas.microsoft.com/office/drawing/2014/main" val="1323900198"/>
                    </a:ext>
                  </a:extLst>
                </a:gridCol>
                <a:gridCol w="1888126">
                  <a:extLst>
                    <a:ext uri="{9D8B030D-6E8A-4147-A177-3AD203B41FA5}">
                      <a16:colId xmlns:a16="http://schemas.microsoft.com/office/drawing/2014/main" val="1991921766"/>
                    </a:ext>
                  </a:extLst>
                </a:gridCol>
              </a:tblGrid>
              <a:tr h="905617">
                <a:tc>
                  <a:txBody>
                    <a:bodyPr/>
                    <a:lstStyle/>
                    <a:p>
                      <a:pPr marL="0" marR="0">
                        <a:lnSpc>
                          <a:spcPct val="107000"/>
                        </a:lnSpc>
                        <a:spcBef>
                          <a:spcPts val="0"/>
                        </a:spcBef>
                        <a:spcAft>
                          <a:spcPts val="800"/>
                        </a:spcAft>
                      </a:pPr>
                      <a:br>
                        <a:rPr lang="en-CA" sz="1200" dirty="0">
                          <a:effectLst/>
                        </a:rPr>
                      </a:br>
                      <a:r>
                        <a:rPr lang="en-CA" sz="1200" dirty="0">
                          <a:effectLst/>
                        </a:rPr>
                        <a:t>No.</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br>
                        <a:rPr lang="en-CA" sz="1200" dirty="0">
                          <a:effectLst/>
                        </a:rPr>
                      </a:br>
                      <a:r>
                        <a:rPr lang="en-CA" sz="1200" dirty="0">
                          <a:effectLst/>
                        </a:rPr>
                        <a:t>Interven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Targeting social determina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proximal social </a:t>
                      </a:r>
                    </a:p>
                    <a:p>
                      <a:pPr marL="0" marR="0">
                        <a:lnSpc>
                          <a:spcPct val="107000"/>
                        </a:lnSpc>
                        <a:spcBef>
                          <a:spcPts val="0"/>
                        </a:spcBef>
                        <a:spcAft>
                          <a:spcPts val="800"/>
                        </a:spcAft>
                      </a:pPr>
                      <a:r>
                        <a:rPr lang="en-US" sz="1200" dirty="0">
                          <a:effectLst/>
                        </a:rPr>
                        <a:t>determinants (community suppor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knowledge, behaviour </a:t>
                      </a:r>
                    </a:p>
                    <a:p>
                      <a:pPr marL="0" marR="0">
                        <a:lnSpc>
                          <a:spcPct val="107000"/>
                        </a:lnSpc>
                        <a:spcBef>
                          <a:spcPts val="0"/>
                        </a:spcBef>
                        <a:spcAft>
                          <a:spcPts val="800"/>
                        </a:spcAft>
                      </a:pPr>
                      <a:r>
                        <a:rPr lang="en-US" sz="1200" dirty="0">
                          <a:effectLst/>
                        </a:rPr>
                        <a:t>and lifestyl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adolescents </a:t>
                      </a:r>
                    </a:p>
                    <a:p>
                      <a:pPr marL="0" marR="0">
                        <a:lnSpc>
                          <a:spcPct val="107000"/>
                        </a:lnSpc>
                        <a:spcBef>
                          <a:spcPts val="0"/>
                        </a:spcBef>
                        <a:spcAft>
                          <a:spcPts val="800"/>
                        </a:spcAft>
                      </a:pPr>
                      <a:r>
                        <a:rPr lang="en-US" sz="1200" dirty="0">
                          <a:effectLst/>
                        </a:rPr>
                        <a:t>and youth health problem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Key Implementers and Funding Agenci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3759048826"/>
                  </a:ext>
                </a:extLst>
              </a:tr>
              <a:tr h="1656165">
                <a:tc>
                  <a:txBody>
                    <a:bodyPr/>
                    <a:lstStyle/>
                    <a:p>
                      <a:pPr marL="0" marR="0">
                        <a:lnSpc>
                          <a:spcPct val="107000"/>
                        </a:lnSpc>
                        <a:spcBef>
                          <a:spcPts val="0"/>
                        </a:spcBef>
                        <a:spcAft>
                          <a:spcPts val="800"/>
                        </a:spcAft>
                      </a:pPr>
                      <a:r>
                        <a:rPr lang="en-CA" sz="1200">
                          <a:effectLst/>
                        </a:rPr>
                        <a:t>4</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800" dirty="0">
                          <a:effectLst/>
                        </a:rPr>
                        <a:t>Nutrition Program – Girls’ Iron-Folate Tablet Supplementation programme (GIFT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To provide adolescent girls with weekly iron and folic acid tablets free of charge to help prevent anaemia</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Program engages actively with parents, family and community members, teachers and health worker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Improve knowledge of adolescent girls and women on the causes and prevention of anaemia</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All adolescent girls in Junior High School (JHS) and Senior High (SHS) School, Technical Vocational Education and Training (TVET) Institutions</a:t>
                      </a:r>
                      <a:endParaRPr lang="en-US" sz="1400" dirty="0">
                        <a:effectLst/>
                      </a:endParaRPr>
                    </a:p>
                    <a:p>
                      <a:pPr marL="0" marR="0">
                        <a:lnSpc>
                          <a:spcPct val="107000"/>
                        </a:lnSpc>
                        <a:spcBef>
                          <a:spcPts val="0"/>
                        </a:spcBef>
                        <a:spcAft>
                          <a:spcPts val="800"/>
                        </a:spcAft>
                      </a:pPr>
                      <a:r>
                        <a:rPr lang="en-CA" sz="1400" dirty="0">
                          <a:effectLst/>
                        </a:rPr>
                        <a:t>Out-of-school adolescent girls 10 to 19 years</a:t>
                      </a:r>
                      <a:endParaRPr lang="en-US" sz="1400" dirty="0">
                        <a:effectLst/>
                      </a:endParaRPr>
                    </a:p>
                    <a:p>
                      <a:pPr marL="0" marR="0">
                        <a:lnSpc>
                          <a:spcPct val="107000"/>
                        </a:lnSpc>
                        <a:spcBef>
                          <a:spcPts val="0"/>
                        </a:spcBef>
                        <a:spcAft>
                          <a:spcPts val="800"/>
                        </a:spcAft>
                      </a:pPr>
                      <a:r>
                        <a:rPr lang="en-CA" sz="1400" dirty="0">
                          <a:effectLst/>
                        </a:rPr>
                        <a:t>Micronutrient supplementation for children, adolescent girls and women of child-bearing ag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Ghana Health Service and Ghana Education Service with funding and technical support from UNICEF and KOICA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extLst>
                  <a:ext uri="{0D108BD9-81ED-4DB2-BD59-A6C34878D82A}">
                    <a16:rowId xmlns:a16="http://schemas.microsoft.com/office/drawing/2014/main" val="659103877"/>
                  </a:ext>
                </a:extLst>
              </a:tr>
              <a:tr h="2200308">
                <a:tc>
                  <a:txBody>
                    <a:bodyPr/>
                    <a:lstStyle/>
                    <a:p>
                      <a:pPr marL="0" marR="0">
                        <a:lnSpc>
                          <a:spcPct val="107000"/>
                        </a:lnSpc>
                        <a:spcBef>
                          <a:spcPts val="0"/>
                        </a:spcBef>
                        <a:spcAft>
                          <a:spcPts val="800"/>
                        </a:spcAft>
                      </a:pPr>
                      <a:r>
                        <a:rPr lang="en-CA" sz="1200">
                          <a:effectLst/>
                        </a:rPr>
                        <a:t>5</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800" dirty="0">
                          <a:effectLst/>
                        </a:rPr>
                        <a:t>Strengthened national capacity in delivering high-quality integrated family planning and comprehensive maternal health services</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US" sz="1400" dirty="0">
                          <a:effectLst/>
                        </a:rPr>
                        <a:t>Program engages with</a:t>
                      </a:r>
                    </a:p>
                    <a:p>
                      <a:pPr marL="0" marR="0">
                        <a:lnSpc>
                          <a:spcPct val="115000"/>
                        </a:lnSpc>
                        <a:spcBef>
                          <a:spcPts val="0"/>
                        </a:spcBef>
                        <a:spcAft>
                          <a:spcPts val="0"/>
                        </a:spcAft>
                      </a:pPr>
                      <a:r>
                        <a:rPr lang="en-US" sz="1400" dirty="0">
                          <a:effectLst/>
                        </a:rPr>
                        <a:t>adolescents and</a:t>
                      </a:r>
                    </a:p>
                    <a:p>
                      <a:pPr marL="0" marR="0">
                        <a:lnSpc>
                          <a:spcPct val="115000"/>
                        </a:lnSpc>
                        <a:spcBef>
                          <a:spcPts val="0"/>
                        </a:spcBef>
                        <a:spcAft>
                          <a:spcPts val="0"/>
                        </a:spcAft>
                      </a:pPr>
                      <a:r>
                        <a:rPr lang="en-US" sz="1400" dirty="0">
                          <a:effectLst/>
                        </a:rPr>
                        <a:t>youth-centered NGOs,</a:t>
                      </a:r>
                    </a:p>
                    <a:p>
                      <a:pPr marL="0" marR="0">
                        <a:lnSpc>
                          <a:spcPct val="115000"/>
                        </a:lnSpc>
                        <a:spcBef>
                          <a:spcPts val="0"/>
                        </a:spcBef>
                        <a:spcAft>
                          <a:spcPts val="0"/>
                        </a:spcAft>
                      </a:pPr>
                      <a:r>
                        <a:rPr lang="en-US" sz="1400" dirty="0">
                          <a:effectLst/>
                        </a:rPr>
                        <a:t>CSOs, the private sector,</a:t>
                      </a:r>
                    </a:p>
                    <a:p>
                      <a:pPr marL="0" marR="0">
                        <a:lnSpc>
                          <a:spcPct val="115000"/>
                        </a:lnSpc>
                        <a:spcBef>
                          <a:spcPts val="0"/>
                        </a:spcBef>
                        <a:spcAft>
                          <a:spcPts val="0"/>
                        </a:spcAft>
                      </a:pPr>
                      <a:r>
                        <a:rPr lang="en-US" sz="1400" dirty="0">
                          <a:effectLst/>
                        </a:rPr>
                        <a:t>Faith-Based Organizations</a:t>
                      </a:r>
                    </a:p>
                    <a:p>
                      <a:pPr marL="0" marR="0">
                        <a:lnSpc>
                          <a:spcPct val="115000"/>
                        </a:lnSpc>
                        <a:spcBef>
                          <a:spcPts val="0"/>
                        </a:spcBef>
                        <a:spcAft>
                          <a:spcPts val="0"/>
                        </a:spcAft>
                      </a:pPr>
                      <a:r>
                        <a:rPr lang="en-US" sz="1400" dirty="0">
                          <a:effectLst/>
                        </a:rPr>
                        <a:t>(FBOs) </a:t>
                      </a:r>
                    </a:p>
                    <a:p>
                      <a:pPr marL="0" marR="0">
                        <a:lnSpc>
                          <a:spcPct val="107000"/>
                        </a:lnSpc>
                        <a:spcBef>
                          <a:spcPts val="0"/>
                        </a:spcBef>
                        <a:spcAft>
                          <a:spcPts val="800"/>
                        </a:spcAft>
                      </a:pPr>
                      <a:r>
                        <a:rPr lang="en-CA"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Improving access to family planning and contraceptiv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For adolescents and youth, including in humanitarian settings</a:t>
                      </a:r>
                      <a:endParaRPr lang="en-US" sz="1400" dirty="0">
                        <a:effectLst/>
                      </a:endParaRPr>
                    </a:p>
                    <a:p>
                      <a:pPr marL="0" marR="0">
                        <a:lnSpc>
                          <a:spcPct val="107000"/>
                        </a:lnSpc>
                        <a:spcBef>
                          <a:spcPts val="0"/>
                        </a:spcBef>
                        <a:spcAft>
                          <a:spcPts val="800"/>
                        </a:spcAft>
                      </a:pPr>
                      <a:r>
                        <a:rPr lang="en-CA" sz="1400" dirty="0">
                          <a:effectLst/>
                        </a:rPr>
                        <a:t>Programming in the following areas: Maternal Health (Emergency maternal and Newborn Care (</a:t>
                      </a:r>
                      <a:r>
                        <a:rPr lang="en-CA" sz="1400" dirty="0" err="1">
                          <a:effectLst/>
                        </a:rPr>
                        <a:t>EmONC</a:t>
                      </a:r>
                      <a:r>
                        <a:rPr lang="en-CA" sz="1400" dirty="0">
                          <a:effectLst/>
                        </a:rPr>
                        <a:t>), Midwifery, Family Planning and Obstetric Fistula contribute to achieving this outpu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UNFPA, PPAG, Marie-Stopes International (MSI)</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extLst>
                  <a:ext uri="{0D108BD9-81ED-4DB2-BD59-A6C34878D82A}">
                    <a16:rowId xmlns:a16="http://schemas.microsoft.com/office/drawing/2014/main" val="4281295977"/>
                  </a:ext>
                </a:extLst>
              </a:tr>
              <a:tr h="1255719">
                <a:tc>
                  <a:txBody>
                    <a:bodyPr/>
                    <a:lstStyle/>
                    <a:p>
                      <a:pPr marL="0" marR="0">
                        <a:lnSpc>
                          <a:spcPct val="107000"/>
                        </a:lnSpc>
                        <a:spcBef>
                          <a:spcPts val="0"/>
                        </a:spcBef>
                        <a:spcAft>
                          <a:spcPts val="800"/>
                        </a:spcAft>
                      </a:pPr>
                      <a:r>
                        <a:rPr lang="en-CA" sz="1200">
                          <a:effectLst/>
                        </a:rPr>
                        <a:t>6</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US" sz="1800" dirty="0">
                          <a:effectLst/>
                        </a:rPr>
                        <a:t>Empowering</a:t>
                      </a:r>
                    </a:p>
                    <a:p>
                      <a:pPr marL="0" marR="0">
                        <a:lnSpc>
                          <a:spcPct val="115000"/>
                        </a:lnSpc>
                        <a:spcBef>
                          <a:spcPts val="0"/>
                        </a:spcBef>
                        <a:spcAft>
                          <a:spcPts val="0"/>
                        </a:spcAft>
                      </a:pPr>
                      <a:r>
                        <a:rPr lang="en-US" sz="1800" dirty="0">
                          <a:effectLst/>
                        </a:rPr>
                        <a:t>Adolescent Girls</a:t>
                      </a:r>
                    </a:p>
                    <a:p>
                      <a:pPr marL="0" marR="0">
                        <a:lnSpc>
                          <a:spcPct val="115000"/>
                        </a:lnSpc>
                        <a:spcBef>
                          <a:spcPts val="0"/>
                        </a:spcBef>
                        <a:spcAft>
                          <a:spcPts val="0"/>
                        </a:spcAft>
                      </a:pPr>
                      <a:r>
                        <a:rPr lang="en-US" sz="1800" dirty="0">
                          <a:effectLst/>
                        </a:rPr>
                        <a:t>Through</a:t>
                      </a:r>
                    </a:p>
                    <a:p>
                      <a:pPr marL="0" marR="0">
                        <a:lnSpc>
                          <a:spcPct val="115000"/>
                        </a:lnSpc>
                        <a:spcBef>
                          <a:spcPts val="0"/>
                        </a:spcBef>
                        <a:spcAft>
                          <a:spcPts val="0"/>
                        </a:spcAft>
                      </a:pPr>
                      <a:r>
                        <a:rPr lang="en-US" sz="1800" dirty="0">
                          <a:effectLst/>
                        </a:rPr>
                        <a:t>Comprehensive</a:t>
                      </a:r>
                    </a:p>
                    <a:p>
                      <a:pPr marL="0" marR="0">
                        <a:lnSpc>
                          <a:spcPct val="115000"/>
                        </a:lnSpc>
                        <a:spcBef>
                          <a:spcPts val="0"/>
                        </a:spcBef>
                        <a:spcAft>
                          <a:spcPts val="0"/>
                        </a:spcAft>
                      </a:pPr>
                      <a:r>
                        <a:rPr lang="en-US" sz="1800" dirty="0">
                          <a:effectLst/>
                        </a:rPr>
                        <a:t>Sexuality Education </a:t>
                      </a:r>
                    </a:p>
                    <a:p>
                      <a:pPr marL="0" marR="0">
                        <a:lnSpc>
                          <a:spcPct val="107000"/>
                        </a:lnSpc>
                        <a:spcBef>
                          <a:spcPts val="0"/>
                        </a:spcBef>
                        <a:spcAft>
                          <a:spcPts val="800"/>
                        </a:spcAft>
                      </a:pPr>
                      <a:r>
                        <a:rPr lang="en-CA"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US" sz="1400" dirty="0">
                          <a:effectLst/>
                        </a:rPr>
                        <a:t>Focusing on</a:t>
                      </a:r>
                    </a:p>
                    <a:p>
                      <a:pPr marL="0" marR="0">
                        <a:lnSpc>
                          <a:spcPct val="115000"/>
                        </a:lnSpc>
                        <a:spcBef>
                          <a:spcPts val="0"/>
                        </a:spcBef>
                        <a:spcAft>
                          <a:spcPts val="0"/>
                        </a:spcAft>
                      </a:pPr>
                      <a:r>
                        <a:rPr lang="en-US" sz="1400" dirty="0">
                          <a:effectLst/>
                        </a:rPr>
                        <a:t>adolescent girls' health, education and well-being</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UNFPA employed a multi-sectoral approach with the government, CSOs, traditional authorities, faith-based organizations, academia, the private sector and the media at the national and decentralized level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400" dirty="0">
                          <a:effectLst/>
                        </a:rPr>
                        <a:t>Mentoring, school clubs, safe  spaces and social media activities served as entry points for empowering the adolescent girl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CA" sz="1400" dirty="0">
                          <a:effectLst/>
                        </a:rPr>
                        <a:t>Facilitate adolescent girls’ access to gender-responsive comprehensive sexuality education and youth-friendly sexual and reproductive health services, including contraception.</a:t>
                      </a:r>
                      <a:endParaRPr lang="en-US" sz="1400" dirty="0">
                        <a:effectLst/>
                      </a:endParaRPr>
                    </a:p>
                    <a:p>
                      <a:pPr marL="0" marR="0">
                        <a:lnSpc>
                          <a:spcPct val="115000"/>
                        </a:lnSpc>
                        <a:spcBef>
                          <a:spcPts val="0"/>
                        </a:spcBef>
                        <a:spcAft>
                          <a:spcPts val="0"/>
                        </a:spcAft>
                      </a:pPr>
                      <a:r>
                        <a:rPr lang="en-CA" sz="1400" dirty="0">
                          <a:effectLst/>
                        </a:rPr>
                        <a:t> </a:t>
                      </a:r>
                      <a:endParaRPr lang="en-US" sz="1400" dirty="0">
                        <a:effectLst/>
                      </a:endParaRPr>
                    </a:p>
                  </a:txBody>
                  <a:tcPr marL="52981" marR="52981" marT="0" marB="0"/>
                </a:tc>
                <a:tc>
                  <a:txBody>
                    <a:bodyPr/>
                    <a:lstStyle/>
                    <a:p>
                      <a:pPr marL="0" marR="0">
                        <a:lnSpc>
                          <a:spcPct val="107000"/>
                        </a:lnSpc>
                        <a:spcBef>
                          <a:spcPts val="0"/>
                        </a:spcBef>
                        <a:spcAft>
                          <a:spcPts val="800"/>
                        </a:spcAft>
                      </a:pPr>
                      <a:r>
                        <a:rPr lang="en-CA" sz="1400" dirty="0">
                          <a:effectLst/>
                        </a:rPr>
                        <a:t>A UNFPA-UNICEF joint programme, with funding support from the Canadian Governmen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extLst>
                  <a:ext uri="{0D108BD9-81ED-4DB2-BD59-A6C34878D82A}">
                    <a16:rowId xmlns:a16="http://schemas.microsoft.com/office/drawing/2014/main" val="1344881685"/>
                  </a:ext>
                </a:extLst>
              </a:tr>
            </a:tbl>
          </a:graphicData>
        </a:graphic>
      </p:graphicFrame>
    </p:spTree>
    <p:extLst>
      <p:ext uri="{BB962C8B-B14F-4D97-AF65-F5344CB8AC3E}">
        <p14:creationId xmlns:p14="http://schemas.microsoft.com/office/powerpoint/2010/main" val="1192211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91A0EED-C026-DA47-B142-2F9591BB12AC}"/>
              </a:ext>
            </a:extLst>
          </p:cNvPr>
          <p:cNvGraphicFramePr>
            <a:graphicFrameLocks noGrp="1"/>
          </p:cNvGraphicFramePr>
          <p:nvPr>
            <p:extLst>
              <p:ext uri="{D42A27DB-BD31-4B8C-83A1-F6EECF244321}">
                <p14:modId xmlns:p14="http://schemas.microsoft.com/office/powerpoint/2010/main" val="1049597208"/>
              </p:ext>
            </p:extLst>
          </p:nvPr>
        </p:nvGraphicFramePr>
        <p:xfrm>
          <a:off x="2593298" y="539647"/>
          <a:ext cx="8469443" cy="7195276"/>
        </p:xfrm>
        <a:graphic>
          <a:graphicData uri="http://schemas.openxmlformats.org/drawingml/2006/table">
            <a:tbl>
              <a:tblPr firstRow="1">
                <a:solidFill>
                  <a:srgbClr val="F2F2F2">
                    <a:alpha val="30196"/>
                  </a:srgbClr>
                </a:solidFill>
                <a:tableStyleId>{5C22544A-7EE6-4342-B048-85BDC9FD1C3A}</a:tableStyleId>
              </a:tblPr>
              <a:tblGrid>
                <a:gridCol w="1772708">
                  <a:extLst>
                    <a:ext uri="{9D8B030D-6E8A-4147-A177-3AD203B41FA5}">
                      <a16:colId xmlns:a16="http://schemas.microsoft.com/office/drawing/2014/main" val="530488268"/>
                    </a:ext>
                  </a:extLst>
                </a:gridCol>
                <a:gridCol w="6696735">
                  <a:extLst>
                    <a:ext uri="{9D8B030D-6E8A-4147-A177-3AD203B41FA5}">
                      <a16:colId xmlns:a16="http://schemas.microsoft.com/office/drawing/2014/main" val="3316210102"/>
                    </a:ext>
                  </a:extLst>
                </a:gridCol>
              </a:tblGrid>
              <a:tr h="1055708">
                <a:tc>
                  <a:txBody>
                    <a:bodyPr/>
                    <a:lstStyle/>
                    <a:p>
                      <a:pPr algn="l" fontAlgn="t"/>
                      <a:endParaRPr lang="en-GB" sz="1700" b="0" i="0" u="none" strike="noStrike" cap="none" spc="0" dirty="0">
                        <a:solidFill>
                          <a:schemeClr val="bg1"/>
                        </a:solidFill>
                        <a:effectLst/>
                        <a:latin typeface="Calibri" panose="020F0502020204030204" pitchFamily="34" charset="0"/>
                      </a:endParaRPr>
                    </a:p>
                  </a:txBody>
                  <a:tcPr marL="203964" marR="25202" marT="156895" marB="156895" anchor="ctr">
                    <a:lnL w="19050" cap="flat" cmpd="sng" algn="ctr">
                      <a:noFill/>
                      <a:prstDash val="solid"/>
                    </a:lnL>
                    <a:lnR w="6350" cap="flat" cmpd="sng" algn="ctr">
                      <a:solidFill>
                        <a:schemeClr val="tx1">
                          <a:lumMod val="75000"/>
                          <a:lumOff val="25000"/>
                        </a:schemeClr>
                      </a:solidFill>
                      <a:prstDash val="solid"/>
                    </a:lnR>
                    <a:lnT w="19050" cap="flat" cmpd="sng" algn="ctr">
                      <a:noFill/>
                      <a:prstDash val="solid"/>
                    </a:lnT>
                    <a:lnB w="6350" cap="flat" cmpd="sng" algn="ctr">
                      <a:solidFill>
                        <a:schemeClr val="tx1">
                          <a:lumMod val="75000"/>
                          <a:lumOff val="25000"/>
                        </a:schemeClr>
                      </a:solidFill>
                      <a:prstDash val="solid"/>
                    </a:lnB>
                    <a:solidFill>
                      <a:schemeClr val="accent1"/>
                    </a:solidFill>
                  </a:tcPr>
                </a:tc>
                <a:tc>
                  <a:txBody>
                    <a:bodyPr/>
                    <a:lstStyle/>
                    <a:p>
                      <a:pPr algn="l" fontAlgn="b"/>
                      <a:r>
                        <a:rPr lang="en-GB" sz="2400" b="0" u="none" strike="noStrike" cap="none" spc="0" dirty="0">
                          <a:solidFill>
                            <a:schemeClr val="bg1"/>
                          </a:solidFill>
                          <a:effectLst/>
                        </a:rPr>
                        <a:t>Prioritised Interventions </a:t>
                      </a:r>
                      <a:endParaRPr lang="en-GB" sz="2400" b="0" i="0" u="none" strike="noStrike" cap="none" spc="0" dirty="0">
                        <a:solidFill>
                          <a:schemeClr val="bg1"/>
                        </a:solidFill>
                        <a:effectLst/>
                        <a:latin typeface="Calibri" panose="020F0502020204030204" pitchFamily="34" charset="0"/>
                      </a:endParaRPr>
                    </a:p>
                  </a:txBody>
                  <a:tcPr marL="203964" marR="25202" marT="156895" marB="156895" anchor="ctr">
                    <a:lnL w="6350" cap="flat" cmpd="sng" algn="ctr">
                      <a:solidFill>
                        <a:schemeClr val="tx1">
                          <a:lumMod val="75000"/>
                          <a:lumOff val="25000"/>
                        </a:schemeClr>
                      </a:solidFill>
                      <a:prstDash val="solid"/>
                    </a:lnL>
                    <a:lnR w="38100" cap="flat" cmpd="sng" algn="ctr">
                      <a:noFill/>
                      <a:prstDash val="solid"/>
                    </a:lnR>
                    <a:lnT w="19050" cap="flat" cmpd="sng" algn="ctr">
                      <a:noFill/>
                      <a:prstDash val="solid"/>
                    </a:lnT>
                    <a:lnB w="6350" cap="flat" cmpd="sng" algn="ctr">
                      <a:solidFill>
                        <a:schemeClr val="tx1">
                          <a:lumMod val="75000"/>
                          <a:lumOff val="25000"/>
                        </a:schemeClr>
                      </a:solidFill>
                      <a:prstDash val="solid"/>
                    </a:lnB>
                    <a:solidFill>
                      <a:schemeClr val="accent1"/>
                    </a:solidFill>
                  </a:tcPr>
                </a:tc>
                <a:extLst>
                  <a:ext uri="{0D108BD9-81ED-4DB2-BD59-A6C34878D82A}">
                    <a16:rowId xmlns:a16="http://schemas.microsoft.com/office/drawing/2014/main" val="3994428976"/>
                  </a:ext>
                </a:extLst>
              </a:tr>
              <a:tr h="1055708">
                <a:tc>
                  <a:txBody>
                    <a:bodyPr/>
                    <a:lstStyle/>
                    <a:p>
                      <a:pPr algn="l" fontAlgn="t"/>
                      <a:r>
                        <a:rPr lang="en-GH" sz="1700" u="none" strike="noStrike" cap="none" spc="0" dirty="0">
                          <a:solidFill>
                            <a:schemeClr val="tx1"/>
                          </a:solidFill>
                          <a:effectLst/>
                        </a:rPr>
                        <a:t>1</a:t>
                      </a:r>
                      <a:endParaRPr lang="en-GH" sz="1700" b="0" i="0" u="none" strike="noStrike" cap="none" spc="0" dirty="0">
                        <a:solidFill>
                          <a:schemeClr val="tx1"/>
                        </a:solidFill>
                        <a:effectLst/>
                        <a:latin typeface="Calibri" panose="020F0502020204030204" pitchFamily="34" charset="0"/>
                      </a:endParaRPr>
                    </a:p>
                  </a:txBody>
                  <a:tcPr marL="203964" marR="25202" marT="156895" marB="156895">
                    <a:lnL w="38100" cap="flat" cmpd="sng" algn="ctr">
                      <a:noFill/>
                      <a:prstDash val="solid"/>
                    </a:lnL>
                    <a:lnR w="6350" cap="flat" cmpd="sng" algn="ctr">
                      <a:solidFill>
                        <a:schemeClr val="tx1">
                          <a:lumMod val="75000"/>
                          <a:lumOff val="25000"/>
                        </a:schemeClr>
                      </a:solidFill>
                      <a:prstDash val="solid"/>
                    </a:lnR>
                    <a:lnT w="6350" cap="flat" cmpd="sng" algn="ctr">
                      <a:solidFill>
                        <a:schemeClr val="tx1">
                          <a:lumMod val="75000"/>
                          <a:lumOff val="25000"/>
                        </a:schemeClr>
                      </a:solidFill>
                      <a:prstDash val="solid"/>
                    </a:lnT>
                    <a:lnB w="6350" cap="flat" cmpd="sng" algn="ctr">
                      <a:noFill/>
                      <a:prstDash val="solid"/>
                    </a:lnB>
                    <a:solidFill>
                      <a:srgbClr val="F2F2F2">
                        <a:alpha val="30196"/>
                      </a:srgbClr>
                    </a:solidFill>
                  </a:tcPr>
                </a:tc>
                <a:tc>
                  <a:txBody>
                    <a:bodyPr/>
                    <a:lstStyle/>
                    <a:p>
                      <a:pPr algn="l" fontAlgn="t"/>
                      <a:r>
                        <a:rPr lang="en-GB" sz="2000" u="none" strike="noStrike" cap="none" spc="0" dirty="0">
                          <a:solidFill>
                            <a:schemeClr val="tx1"/>
                          </a:solidFill>
                          <a:effectLst/>
                        </a:rPr>
                        <a:t>Adolescent Clubs</a:t>
                      </a:r>
                      <a:endParaRPr lang="en-GB" sz="2000" b="0" i="0" u="none" strike="noStrike" cap="none" spc="0" dirty="0">
                        <a:solidFill>
                          <a:schemeClr val="tx1"/>
                        </a:solidFill>
                        <a:effectLst/>
                        <a:latin typeface="Calibri" panose="020F0502020204030204" pitchFamily="34" charset="0"/>
                      </a:endParaRPr>
                    </a:p>
                  </a:txBody>
                  <a:tcPr marL="203964" marR="25202" marT="156895" marB="156895">
                    <a:lnL w="6350" cap="flat" cmpd="sng" algn="ctr">
                      <a:solidFill>
                        <a:schemeClr val="tx1">
                          <a:lumMod val="75000"/>
                          <a:lumOff val="25000"/>
                        </a:schemeClr>
                      </a:solidFill>
                      <a:prstDash val="solid"/>
                    </a:lnL>
                    <a:lnR w="38100" cap="flat" cmpd="sng" algn="ctr">
                      <a:noFill/>
                      <a:prstDash val="solid"/>
                    </a:lnR>
                    <a:lnT w="6350" cap="flat" cmpd="sng" algn="ctr">
                      <a:solidFill>
                        <a:schemeClr val="tx1">
                          <a:lumMod val="75000"/>
                          <a:lumOff val="25000"/>
                        </a:schemeClr>
                      </a:solid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2855311959"/>
                  </a:ext>
                </a:extLst>
              </a:tr>
              <a:tr h="1822403">
                <a:tc>
                  <a:txBody>
                    <a:bodyPr/>
                    <a:lstStyle/>
                    <a:p>
                      <a:pPr algn="l" fontAlgn="t"/>
                      <a:r>
                        <a:rPr lang="en-GH" sz="1700" u="none" strike="noStrike" cap="none" spc="0">
                          <a:solidFill>
                            <a:schemeClr val="tx1"/>
                          </a:solidFill>
                          <a:effectLst/>
                        </a:rPr>
                        <a:t>2</a:t>
                      </a:r>
                      <a:endParaRPr lang="en-GH" sz="1700" b="0" i="0" u="none" strike="noStrike" cap="none" spc="0">
                        <a:solidFill>
                          <a:schemeClr val="tx1"/>
                        </a:solidFill>
                        <a:effectLst/>
                        <a:latin typeface="Calibri" panose="020F0502020204030204" pitchFamily="34" charset="0"/>
                      </a:endParaRPr>
                    </a:p>
                  </a:txBody>
                  <a:tcPr marL="203964" marR="25202" marT="156895" marB="156895">
                    <a:lnL w="6350" cap="flat" cmpd="sng" algn="ctr">
                      <a:noFill/>
                      <a:prstDash val="solid"/>
                    </a:lnL>
                    <a:lnR w="6350" cap="flat" cmpd="sng" algn="ctr">
                      <a:noFill/>
                      <a:prstDash val="solid"/>
                    </a:lnR>
                    <a:lnT w="6350" cap="flat" cmpd="sng" algn="ctr">
                      <a:noFill/>
                      <a:prstDash val="solid"/>
                    </a:lnT>
                    <a:lnB w="6350" cap="flat" cmpd="sng" algn="ctr">
                      <a:solidFill>
                        <a:schemeClr val="tx1">
                          <a:lumMod val="75000"/>
                          <a:lumOff val="25000"/>
                        </a:schemeClr>
                      </a:solidFill>
                      <a:prstDash val="solid"/>
                    </a:lnB>
                    <a:solidFill>
                      <a:schemeClr val="bg1">
                        <a:lumMod val="95000"/>
                      </a:schemeClr>
                    </a:solidFill>
                  </a:tcPr>
                </a:tc>
                <a:tc>
                  <a:txBody>
                    <a:bodyPr/>
                    <a:lstStyle/>
                    <a:p>
                      <a:pPr algn="l" fontAlgn="ctr"/>
                      <a:r>
                        <a:rPr lang="en-GB" sz="2000" u="none" strike="noStrike" cap="none" spc="0" dirty="0">
                          <a:solidFill>
                            <a:schemeClr val="tx1"/>
                          </a:solidFill>
                          <a:effectLst/>
                        </a:rPr>
                        <a:t>Empowering Adolescent Girls Through Comprehensive Sexuality Education </a:t>
                      </a:r>
                      <a:br>
                        <a:rPr lang="en-GB" sz="2000" u="none" strike="noStrike" cap="none" spc="0" dirty="0">
                          <a:solidFill>
                            <a:schemeClr val="tx1"/>
                          </a:solidFill>
                          <a:effectLst/>
                        </a:rPr>
                      </a:br>
                      <a:endParaRPr lang="en-GB" sz="2000" b="0" i="0" u="none" strike="noStrike" cap="none" spc="0" dirty="0">
                        <a:solidFill>
                          <a:schemeClr val="tx1"/>
                        </a:solidFill>
                        <a:effectLst/>
                        <a:latin typeface="Calibri" panose="020F0502020204030204" pitchFamily="34" charset="0"/>
                      </a:endParaRPr>
                    </a:p>
                  </a:txBody>
                  <a:tcPr marL="203964" marR="25202" marT="156895" marB="156895" anchor="ctr">
                    <a:lnL w="6350" cap="flat" cmpd="sng" algn="ctr">
                      <a:noFill/>
                      <a:prstDash val="solid"/>
                    </a:lnL>
                    <a:lnR w="38100" cap="flat" cmpd="sng" algn="ctr">
                      <a:noFill/>
                      <a:prstDash val="solid"/>
                    </a:lnR>
                    <a:lnT w="6350" cap="flat" cmpd="sng" algn="ctr">
                      <a:noFill/>
                      <a:prstDash val="solid"/>
                    </a:lnT>
                    <a:lnB w="6350" cap="flat" cmpd="sng" algn="ctr">
                      <a:solidFill>
                        <a:schemeClr val="tx1">
                          <a:lumMod val="75000"/>
                          <a:lumOff val="25000"/>
                        </a:schemeClr>
                      </a:solidFill>
                      <a:prstDash val="solid"/>
                    </a:lnB>
                    <a:solidFill>
                      <a:schemeClr val="bg1">
                        <a:lumMod val="95000"/>
                      </a:schemeClr>
                    </a:solidFill>
                  </a:tcPr>
                </a:tc>
                <a:extLst>
                  <a:ext uri="{0D108BD9-81ED-4DB2-BD59-A6C34878D82A}">
                    <a16:rowId xmlns:a16="http://schemas.microsoft.com/office/drawing/2014/main" val="2750830244"/>
                  </a:ext>
                </a:extLst>
              </a:tr>
              <a:tr h="2205749">
                <a:tc>
                  <a:txBody>
                    <a:bodyPr/>
                    <a:lstStyle/>
                    <a:p>
                      <a:pPr algn="l" fontAlgn="t"/>
                      <a:r>
                        <a:rPr lang="en-GH" sz="1700" u="none" strike="noStrike" cap="none" spc="0">
                          <a:solidFill>
                            <a:schemeClr val="tx1"/>
                          </a:solidFill>
                          <a:effectLst/>
                        </a:rPr>
                        <a:t>3</a:t>
                      </a:r>
                      <a:endParaRPr lang="en-GH" sz="1700" b="0" i="0" u="none" strike="noStrike" cap="none" spc="0">
                        <a:solidFill>
                          <a:schemeClr val="tx1"/>
                        </a:solidFill>
                        <a:effectLst/>
                        <a:latin typeface="Calibri" panose="020F0502020204030204" pitchFamily="34" charset="0"/>
                      </a:endParaRPr>
                    </a:p>
                  </a:txBody>
                  <a:tcPr marL="203964" marR="25202" marT="156895" marB="156895">
                    <a:lnL w="38100" cap="flat" cmpd="sng" algn="ctr">
                      <a:noFill/>
                      <a:prstDash val="solid"/>
                    </a:lnL>
                    <a:lnR w="6350" cap="flat" cmpd="sng" algn="ctr">
                      <a:solidFill>
                        <a:schemeClr val="tx1">
                          <a:lumMod val="75000"/>
                          <a:lumOff val="25000"/>
                        </a:schemeClr>
                      </a:solidFill>
                      <a:prstDash val="solid"/>
                    </a:lnR>
                    <a:lnT w="6350" cap="flat" cmpd="sng" algn="ctr">
                      <a:solidFill>
                        <a:schemeClr val="tx1">
                          <a:lumMod val="75000"/>
                          <a:lumOff val="25000"/>
                        </a:schemeClr>
                      </a:solidFill>
                      <a:prstDash val="solid"/>
                    </a:lnT>
                    <a:lnB w="6350" cap="flat" cmpd="sng" algn="ctr">
                      <a:noFill/>
                      <a:prstDash val="solid"/>
                    </a:lnB>
                    <a:solidFill>
                      <a:srgbClr val="F2F2F2">
                        <a:alpha val="30196"/>
                      </a:srgbClr>
                    </a:solidFill>
                  </a:tcPr>
                </a:tc>
                <a:tc>
                  <a:txBody>
                    <a:bodyPr/>
                    <a:lstStyle/>
                    <a:p>
                      <a:pPr algn="l" fontAlgn="ctr"/>
                      <a:r>
                        <a:rPr lang="en-GB" sz="2000" u="none" strike="noStrike" cap="none" spc="0" dirty="0">
                          <a:solidFill>
                            <a:schemeClr val="tx1"/>
                          </a:solidFill>
                          <a:effectLst/>
                        </a:rPr>
                        <a:t>Strengthened national capacity in delivering high-quality integrated family planning and comprehensive maternal health services</a:t>
                      </a:r>
                      <a:endParaRPr lang="en-GB" sz="2000" b="0" i="0" u="none" strike="noStrike" cap="none" spc="0" dirty="0">
                        <a:solidFill>
                          <a:schemeClr val="tx1"/>
                        </a:solidFill>
                        <a:effectLst/>
                        <a:latin typeface="Calibri" panose="020F0502020204030204" pitchFamily="34" charset="0"/>
                      </a:endParaRPr>
                    </a:p>
                  </a:txBody>
                  <a:tcPr marL="203964" marR="25202" marT="156895" marB="156895" anchor="ctr">
                    <a:lnL w="6350" cap="flat" cmpd="sng" algn="ctr">
                      <a:solidFill>
                        <a:schemeClr val="tx1">
                          <a:lumMod val="75000"/>
                          <a:lumOff val="25000"/>
                        </a:schemeClr>
                      </a:solidFill>
                      <a:prstDash val="solid"/>
                    </a:lnL>
                    <a:lnR w="38100" cap="flat" cmpd="sng" algn="ctr">
                      <a:noFill/>
                      <a:prstDash val="solid"/>
                    </a:lnR>
                    <a:lnT w="6350" cap="flat" cmpd="sng" algn="ctr">
                      <a:solidFill>
                        <a:schemeClr val="tx1">
                          <a:lumMod val="75000"/>
                          <a:lumOff val="25000"/>
                        </a:schemeClr>
                      </a:solidFill>
                      <a:prstDash val="solid"/>
                    </a:lnT>
                    <a:lnB w="6350" cap="flat" cmpd="sng" algn="ctr">
                      <a:noFill/>
                      <a:prstDash val="solid"/>
                    </a:lnB>
                    <a:solidFill>
                      <a:srgbClr val="F2F2F2">
                        <a:alpha val="30196"/>
                      </a:srgbClr>
                    </a:solidFill>
                  </a:tcPr>
                </a:tc>
                <a:extLst>
                  <a:ext uri="{0D108BD9-81ED-4DB2-BD59-A6C34878D82A}">
                    <a16:rowId xmlns:a16="http://schemas.microsoft.com/office/drawing/2014/main" val="81734235"/>
                  </a:ext>
                </a:extLst>
              </a:tr>
              <a:tr h="1055708">
                <a:tc>
                  <a:txBody>
                    <a:bodyPr/>
                    <a:lstStyle/>
                    <a:p>
                      <a:pPr algn="l" fontAlgn="t"/>
                      <a:r>
                        <a:rPr lang="en-GH" sz="1700" u="none" strike="noStrike" cap="none" spc="0">
                          <a:solidFill>
                            <a:schemeClr val="tx1"/>
                          </a:solidFill>
                          <a:effectLst/>
                        </a:rPr>
                        <a:t>4</a:t>
                      </a:r>
                      <a:endParaRPr lang="en-GH" sz="1700" b="0" i="0" u="none" strike="noStrike" cap="none" spc="0">
                        <a:solidFill>
                          <a:schemeClr val="tx1"/>
                        </a:solidFill>
                        <a:effectLst/>
                        <a:latin typeface="Calibri" panose="020F0502020204030204" pitchFamily="34" charset="0"/>
                      </a:endParaRPr>
                    </a:p>
                  </a:txBody>
                  <a:tcPr marL="203964" marR="25202" marT="156895" marB="156895">
                    <a:lnL w="6350" cap="flat" cmpd="sng" algn="ctr">
                      <a:noFill/>
                      <a:prstDash val="solid"/>
                    </a:lnL>
                    <a:lnR w="6350" cap="flat" cmpd="sng" algn="ctr">
                      <a:noFill/>
                      <a:prstDash val="solid"/>
                    </a:lnR>
                    <a:lnT w="6350" cap="flat" cmpd="sng" algn="ctr">
                      <a:noFill/>
                      <a:prstDash val="solid"/>
                    </a:lnT>
                    <a:lnB w="38100" cap="flat" cmpd="sng" algn="ctr">
                      <a:noFill/>
                      <a:prstDash val="solid"/>
                    </a:lnB>
                    <a:solidFill>
                      <a:schemeClr val="bg1">
                        <a:lumMod val="95000"/>
                      </a:schemeClr>
                    </a:solidFill>
                  </a:tcPr>
                </a:tc>
                <a:tc>
                  <a:txBody>
                    <a:bodyPr/>
                    <a:lstStyle/>
                    <a:p>
                      <a:pPr algn="l" fontAlgn="t"/>
                      <a:r>
                        <a:rPr lang="en-GB" sz="2000" u="none" strike="noStrike" cap="none" spc="0" dirty="0">
                          <a:solidFill>
                            <a:schemeClr val="tx1"/>
                          </a:solidFill>
                          <a:effectLst/>
                        </a:rPr>
                        <a:t>E-Health (Digital platforms) </a:t>
                      </a:r>
                      <a:endParaRPr lang="en-GB" sz="2000" b="0" i="0" u="none" strike="noStrike" cap="none" spc="0" dirty="0">
                        <a:solidFill>
                          <a:schemeClr val="tx1"/>
                        </a:solidFill>
                        <a:effectLst/>
                        <a:latin typeface="Calibri" panose="020F0502020204030204" pitchFamily="34" charset="0"/>
                      </a:endParaRPr>
                    </a:p>
                  </a:txBody>
                  <a:tcPr marL="203964" marR="25202" marT="156895" marB="156895">
                    <a:lnL w="6350" cap="flat" cmpd="sng" algn="ctr">
                      <a:noFill/>
                      <a:prstDash val="solid"/>
                    </a:lnL>
                    <a:lnR w="38100" cap="flat" cmpd="sng" algn="ctr">
                      <a:noFill/>
                      <a:prstDash val="solid"/>
                    </a:lnR>
                    <a:lnT w="6350" cap="flat" cmpd="sng" algn="ctr">
                      <a:noFill/>
                      <a:prstDash val="solid"/>
                    </a:lnT>
                    <a:lnB w="38100" cap="flat" cmpd="sng" algn="ctr">
                      <a:noFill/>
                      <a:prstDash val="solid"/>
                    </a:lnB>
                    <a:solidFill>
                      <a:schemeClr val="bg1">
                        <a:lumMod val="95000"/>
                      </a:schemeClr>
                    </a:solidFill>
                  </a:tcPr>
                </a:tc>
                <a:extLst>
                  <a:ext uri="{0D108BD9-81ED-4DB2-BD59-A6C34878D82A}">
                    <a16:rowId xmlns:a16="http://schemas.microsoft.com/office/drawing/2014/main" val="1341824155"/>
                  </a:ext>
                </a:extLst>
              </a:tr>
            </a:tbl>
          </a:graphicData>
        </a:graphic>
      </p:graphicFrame>
    </p:spTree>
    <p:extLst>
      <p:ext uri="{BB962C8B-B14F-4D97-AF65-F5344CB8AC3E}">
        <p14:creationId xmlns:p14="http://schemas.microsoft.com/office/powerpoint/2010/main" val="1487974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4630398"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11" name="Rectangle 10">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0226935" cy="2743198"/>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A7677DB-8242-FB43-ACF2-6609971A4F48}"/>
              </a:ext>
            </a:extLst>
          </p:cNvPr>
          <p:cNvSpPr>
            <a:spLocks noGrp="1"/>
          </p:cNvSpPr>
          <p:nvPr>
            <p:ph idx="1"/>
          </p:nvPr>
        </p:nvSpPr>
        <p:spPr>
          <a:xfrm>
            <a:off x="914161" y="3291840"/>
            <a:ext cx="5855915" cy="4335778"/>
          </a:xfrm>
        </p:spPr>
        <p:txBody>
          <a:bodyPr anchor="ctr">
            <a:normAutofit/>
          </a:bodyPr>
          <a:lstStyle/>
          <a:p>
            <a:pPr marL="0" indent="0">
              <a:buNone/>
            </a:pPr>
            <a:r>
              <a:rPr lang="en-GH" sz="4000" dirty="0"/>
              <a:t>Senegal</a:t>
            </a:r>
          </a:p>
          <a:p>
            <a:pPr marL="0" indent="0">
              <a:buNone/>
            </a:pPr>
            <a:r>
              <a:rPr lang="en-GH" sz="4000" dirty="0">
                <a:solidFill>
                  <a:schemeClr val="accent1">
                    <a:lumMod val="75000"/>
                  </a:schemeClr>
                </a:solidFill>
              </a:rPr>
              <a:t>12 interventions identified</a:t>
            </a:r>
          </a:p>
          <a:p>
            <a:pPr marL="0" indent="0">
              <a:buNone/>
            </a:pPr>
            <a:r>
              <a:rPr lang="en-GH" sz="4000" dirty="0">
                <a:solidFill>
                  <a:srgbClr val="C00000"/>
                </a:solidFill>
              </a:rPr>
              <a:t>5</a:t>
            </a:r>
            <a:r>
              <a:rPr lang="en-GH" sz="4000" dirty="0">
                <a:solidFill>
                  <a:schemeClr val="accent1">
                    <a:lumMod val="75000"/>
                  </a:schemeClr>
                </a:solidFill>
              </a:rPr>
              <a:t> prioritised for costing</a:t>
            </a:r>
            <a:endParaRPr lang="en-GH" sz="4000" dirty="0"/>
          </a:p>
        </p:txBody>
      </p:sp>
      <p:pic>
        <p:nvPicPr>
          <p:cNvPr id="5" name="Picture 4" descr="A pathway with baobab trees on both sides">
            <a:extLst>
              <a:ext uri="{FF2B5EF4-FFF2-40B4-BE49-F238E27FC236}">
                <a16:creationId xmlns:a16="http://schemas.microsoft.com/office/drawing/2014/main" id="{5A7EAF3B-FAA7-2E1F-D7E1-1E7326A86D6D}"/>
              </a:ext>
            </a:extLst>
          </p:cNvPr>
          <p:cNvPicPr>
            <a:picLocks noChangeAspect="1"/>
          </p:cNvPicPr>
          <p:nvPr/>
        </p:nvPicPr>
        <p:blipFill rotWithShape="1">
          <a:blip r:embed="rId2"/>
          <a:srcRect l="15885" r="24714" b="-2"/>
          <a:stretch/>
        </p:blipFill>
        <p:spPr>
          <a:xfrm>
            <a:off x="7315200" y="1"/>
            <a:ext cx="7323390" cy="8229600"/>
          </a:xfrm>
          <a:prstGeom prst="rect">
            <a:avLst/>
          </a:prstGeom>
        </p:spPr>
      </p:pic>
    </p:spTree>
    <p:extLst>
      <p:ext uri="{BB962C8B-B14F-4D97-AF65-F5344CB8AC3E}">
        <p14:creationId xmlns:p14="http://schemas.microsoft.com/office/powerpoint/2010/main" val="23762687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1097280">
              <a:defRPr/>
            </a:pPr>
            <a:fld id="{5FF77A7F-CD4B-4CF1-9820-FDB02CCB5FCE}"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5" name="Slide Number Placeholder 4"/>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16</a:t>
            </a:fld>
            <a:endParaRPr lang="en-US" sz="1440">
              <a:solidFill>
                <a:prstClr val="black">
                  <a:tint val="75000"/>
                </a:prstClr>
              </a:solidFill>
              <a:latin typeface="Arial" panose="020B0604020202020204"/>
            </a:endParaRPr>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1348451911"/>
              </p:ext>
            </p:extLst>
          </p:nvPr>
        </p:nvGraphicFramePr>
        <p:xfrm>
          <a:off x="360046" y="322326"/>
          <a:ext cx="14084477" cy="7239321"/>
        </p:xfrm>
        <a:graphic>
          <a:graphicData uri="http://schemas.openxmlformats.org/drawingml/2006/table">
            <a:tbl>
              <a:tblPr firstRow="1" firstCol="1" bandRow="1">
                <a:tableStyleId>{5C22544A-7EE6-4342-B048-85BDC9FD1C3A}</a:tableStyleId>
              </a:tblPr>
              <a:tblGrid>
                <a:gridCol w="577369">
                  <a:extLst>
                    <a:ext uri="{9D8B030D-6E8A-4147-A177-3AD203B41FA5}">
                      <a16:colId xmlns:a16="http://schemas.microsoft.com/office/drawing/2014/main" val="998347822"/>
                    </a:ext>
                  </a:extLst>
                </a:gridCol>
                <a:gridCol w="1943066">
                  <a:extLst>
                    <a:ext uri="{9D8B030D-6E8A-4147-A177-3AD203B41FA5}">
                      <a16:colId xmlns:a16="http://schemas.microsoft.com/office/drawing/2014/main" val="517767274"/>
                    </a:ext>
                  </a:extLst>
                </a:gridCol>
                <a:gridCol w="2227315">
                  <a:extLst>
                    <a:ext uri="{9D8B030D-6E8A-4147-A177-3AD203B41FA5}">
                      <a16:colId xmlns:a16="http://schemas.microsoft.com/office/drawing/2014/main" val="3453063458"/>
                    </a:ext>
                  </a:extLst>
                </a:gridCol>
                <a:gridCol w="2497122">
                  <a:extLst>
                    <a:ext uri="{9D8B030D-6E8A-4147-A177-3AD203B41FA5}">
                      <a16:colId xmlns:a16="http://schemas.microsoft.com/office/drawing/2014/main" val="1421860930"/>
                    </a:ext>
                  </a:extLst>
                </a:gridCol>
                <a:gridCol w="1953062">
                  <a:extLst>
                    <a:ext uri="{9D8B030D-6E8A-4147-A177-3AD203B41FA5}">
                      <a16:colId xmlns:a16="http://schemas.microsoft.com/office/drawing/2014/main" val="3776144971"/>
                    </a:ext>
                  </a:extLst>
                </a:gridCol>
                <a:gridCol w="3233267">
                  <a:extLst>
                    <a:ext uri="{9D8B030D-6E8A-4147-A177-3AD203B41FA5}">
                      <a16:colId xmlns:a16="http://schemas.microsoft.com/office/drawing/2014/main" val="1696209524"/>
                    </a:ext>
                  </a:extLst>
                </a:gridCol>
                <a:gridCol w="1653276">
                  <a:extLst>
                    <a:ext uri="{9D8B030D-6E8A-4147-A177-3AD203B41FA5}">
                      <a16:colId xmlns:a16="http://schemas.microsoft.com/office/drawing/2014/main" val="741629028"/>
                    </a:ext>
                  </a:extLst>
                </a:gridCol>
              </a:tblGrid>
              <a:tr h="607619">
                <a:tc>
                  <a:txBody>
                    <a:bodyPr/>
                    <a:lstStyle/>
                    <a:p>
                      <a:pPr marL="0" marR="0">
                        <a:lnSpc>
                          <a:spcPct val="107000"/>
                        </a:lnSpc>
                        <a:spcBef>
                          <a:spcPts val="0"/>
                        </a:spcBef>
                        <a:spcAft>
                          <a:spcPts val="800"/>
                        </a:spcAft>
                      </a:pPr>
                      <a:br>
                        <a:rPr lang="en-CA" sz="1200" dirty="0">
                          <a:effectLst/>
                        </a:rPr>
                      </a:br>
                      <a:r>
                        <a:rPr lang="en-CA" sz="1200" dirty="0">
                          <a:effectLst/>
                        </a:rPr>
                        <a:t>No.</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br>
                        <a:rPr lang="en-CA" sz="1200" dirty="0">
                          <a:effectLst/>
                        </a:rPr>
                      </a:br>
                      <a:r>
                        <a:rPr lang="en-CA" sz="1200" dirty="0">
                          <a:effectLst/>
                        </a:rPr>
                        <a:t>Interven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Targeting social determina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proximal social </a:t>
                      </a:r>
                    </a:p>
                    <a:p>
                      <a:pPr marL="0" marR="0">
                        <a:lnSpc>
                          <a:spcPct val="107000"/>
                        </a:lnSpc>
                        <a:spcBef>
                          <a:spcPts val="0"/>
                        </a:spcBef>
                        <a:spcAft>
                          <a:spcPts val="800"/>
                        </a:spcAft>
                      </a:pPr>
                      <a:r>
                        <a:rPr lang="en-US" sz="1200" dirty="0">
                          <a:effectLst/>
                        </a:rPr>
                        <a:t>determinants (community suppor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knowledge, behaviour </a:t>
                      </a:r>
                    </a:p>
                    <a:p>
                      <a:pPr marL="0" marR="0">
                        <a:lnSpc>
                          <a:spcPct val="107000"/>
                        </a:lnSpc>
                        <a:spcBef>
                          <a:spcPts val="0"/>
                        </a:spcBef>
                        <a:spcAft>
                          <a:spcPts val="800"/>
                        </a:spcAft>
                      </a:pPr>
                      <a:r>
                        <a:rPr lang="en-US" sz="1200" dirty="0">
                          <a:effectLst/>
                        </a:rPr>
                        <a:t>and lifestyl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adolescents </a:t>
                      </a:r>
                    </a:p>
                    <a:p>
                      <a:pPr marL="0" marR="0">
                        <a:lnSpc>
                          <a:spcPct val="107000"/>
                        </a:lnSpc>
                        <a:spcBef>
                          <a:spcPts val="0"/>
                        </a:spcBef>
                        <a:spcAft>
                          <a:spcPts val="800"/>
                        </a:spcAft>
                      </a:pPr>
                      <a:r>
                        <a:rPr lang="en-US" sz="1200" dirty="0">
                          <a:effectLst/>
                        </a:rPr>
                        <a:t>and youth health problem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Key Implementers and Funding Agenci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4110451795"/>
                  </a:ext>
                </a:extLst>
              </a:tr>
              <a:tr h="1995672">
                <a:tc>
                  <a:txBody>
                    <a:bodyPr/>
                    <a:lstStyle/>
                    <a:p>
                      <a:pPr marL="0" marR="0">
                        <a:lnSpc>
                          <a:spcPct val="107000"/>
                        </a:lnSpc>
                        <a:spcBef>
                          <a:spcPts val="0"/>
                        </a:spcBef>
                        <a:spcAft>
                          <a:spcPts val="800"/>
                        </a:spcAft>
                      </a:pPr>
                      <a:r>
                        <a:rPr lang="en-CA" sz="1200">
                          <a:effectLst/>
                        </a:rPr>
                        <a:t>1</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GB" sz="1800" b="1" kern="1200" dirty="0">
                          <a:solidFill>
                            <a:schemeClr val="dk1"/>
                          </a:solidFill>
                          <a:effectLst/>
                          <a:latin typeface="+mn-lt"/>
                          <a:ea typeface="+mn-ea"/>
                          <a:cs typeface="+mn-cs"/>
                        </a:rPr>
                        <a:t>Girls' Education Project</a:t>
                      </a:r>
                      <a:r>
                        <a:rPr lang="en-GH" sz="1200" dirty="0">
                          <a:effectLst/>
                        </a:rPr>
                        <a:t> </a:t>
                      </a:r>
                    </a:p>
                    <a:p>
                      <a:pPr marL="0" marR="0">
                        <a:lnSpc>
                          <a:spcPct val="107000"/>
                        </a:lnSpc>
                        <a:spcBef>
                          <a:spcPts val="0"/>
                        </a:spcBef>
                        <a:spcAft>
                          <a:spcPts val="800"/>
                        </a:spcAft>
                      </a:pPr>
                      <a:r>
                        <a:rPr lang="en-CA"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Peer education and mentorship</a:t>
                      </a:r>
                      <a:endParaRPr lang="en-US" sz="1600" dirty="0">
                        <a:effectLst/>
                      </a:endParaRPr>
                    </a:p>
                    <a:p>
                      <a:pPr marL="0" marR="0">
                        <a:lnSpc>
                          <a:spcPct val="107000"/>
                        </a:lnSpc>
                        <a:spcBef>
                          <a:spcPts val="0"/>
                        </a:spcBef>
                        <a:spcAft>
                          <a:spcPts val="800"/>
                        </a:spcAft>
                      </a:pPr>
                      <a:r>
                        <a:rPr lang="en-CA"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fights against all forms of violence and their consequences that affect girls in the school environmen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Youth empowerment through participation</a:t>
                      </a:r>
                      <a:endParaRPr lang="en-US" sz="1600" dirty="0">
                        <a:effectLst/>
                      </a:endParaRPr>
                    </a:p>
                    <a:p>
                      <a:pPr marL="0" marR="0">
                        <a:lnSpc>
                          <a:spcPct val="107000"/>
                        </a:lnSpc>
                        <a:spcBef>
                          <a:spcPts val="0"/>
                        </a:spcBef>
                        <a:spcAft>
                          <a:spcPts val="800"/>
                        </a:spcAft>
                      </a:pPr>
                      <a:r>
                        <a:rPr lang="en-CA" sz="1600" dirty="0">
                          <a:effectLst/>
                        </a:rPr>
                        <a:t>Positive peer pressure</a:t>
                      </a:r>
                      <a:endParaRPr lang="en-US" sz="1600" dirty="0">
                        <a:effectLst/>
                      </a:endParaRPr>
                    </a:p>
                    <a:p>
                      <a:pPr marL="0" marR="0">
                        <a:lnSpc>
                          <a:spcPct val="107000"/>
                        </a:lnSpc>
                        <a:spcBef>
                          <a:spcPts val="0"/>
                        </a:spcBef>
                        <a:spcAft>
                          <a:spcPts val="800"/>
                        </a:spcAft>
                      </a:pPr>
                      <a:r>
                        <a:rPr lang="en-CA"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The Girls' Education Project (SCOFI), FAWE's (West African Forum of Educators) implementing agency in the school environment, like FAWE, fights against all forms of violence and their consequences that affect girls in the school environmen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400" dirty="0">
                          <a:effectLst/>
                        </a:rPr>
                        <a:t>GEEP and SCOFI as civil society organizations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251082579"/>
                  </a:ext>
                </a:extLst>
              </a:tr>
              <a:tr h="2509110">
                <a:tc>
                  <a:txBody>
                    <a:bodyPr/>
                    <a:lstStyle/>
                    <a:p>
                      <a:pPr marL="0" marR="0">
                        <a:lnSpc>
                          <a:spcPct val="107000"/>
                        </a:lnSpc>
                        <a:spcBef>
                          <a:spcPts val="0"/>
                        </a:spcBef>
                        <a:spcAft>
                          <a:spcPts val="800"/>
                        </a:spcAft>
                      </a:pPr>
                      <a:r>
                        <a:rPr lang="en-CA" sz="1200">
                          <a:effectLst/>
                        </a:rPr>
                        <a:t>2</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GB" sz="1800" b="1" kern="1200" dirty="0">
                          <a:solidFill>
                            <a:schemeClr val="dk1"/>
                          </a:solidFill>
                          <a:effectLst/>
                          <a:latin typeface="+mn-lt"/>
                          <a:ea typeface="+mn-ea"/>
                          <a:cs typeface="+mn-cs"/>
                        </a:rPr>
                        <a:t>Group for the Study and Teaching of Popula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Peer education and mentorship</a:t>
                      </a:r>
                      <a:endParaRPr lang="en-US" sz="1600" dirty="0">
                        <a:effectLst/>
                      </a:endParaRPr>
                    </a:p>
                  </a:txBody>
                  <a:tcPr marL="59908" marR="59908" marT="0" marB="0"/>
                </a:tc>
                <a:tc>
                  <a:txBody>
                    <a:bodyPr/>
                    <a:lstStyle/>
                    <a:p>
                      <a:pPr marL="0" marR="0">
                        <a:lnSpc>
                          <a:spcPct val="107000"/>
                        </a:lnSpc>
                        <a:spcBef>
                          <a:spcPts val="0"/>
                        </a:spcBef>
                        <a:spcAft>
                          <a:spcPts val="800"/>
                        </a:spcAft>
                      </a:pPr>
                      <a:r>
                        <a:rPr lang="en-CA" sz="1600" dirty="0">
                          <a:effectLst/>
                        </a:rPr>
                        <a:t>This teacher-led organization has established NET clubs in all middle and high schools in Senegal.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GB" sz="1600" kern="1200" dirty="0">
                          <a:solidFill>
                            <a:schemeClr val="dk1"/>
                          </a:solidFill>
                          <a:effectLst/>
                          <a:latin typeface="+mn-lt"/>
                          <a:ea typeface="+mn-ea"/>
                          <a:cs typeface="+mn-cs"/>
                        </a:rPr>
                        <a:t>There are 550 EVF Clubs in the 45 departments of Senegal, which more or less make up for the lack of facilities for adolescents and young people in SRAJ or AYRH, both at the community and school levels</a:t>
                      </a:r>
                      <a:r>
                        <a:rPr lang="en-GH" sz="1600" dirty="0">
                          <a:effectLst/>
                        </a:rPr>
                        <a:t> </a:t>
                      </a:r>
                      <a:r>
                        <a:rPr lang="en-CA"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GEEP</a:t>
                      </a:r>
                    </a:p>
                  </a:txBody>
                  <a:tcPr marL="59908" marR="59908" marT="0" marB="0"/>
                </a:tc>
                <a:extLst>
                  <a:ext uri="{0D108BD9-81ED-4DB2-BD59-A6C34878D82A}">
                    <a16:rowId xmlns:a16="http://schemas.microsoft.com/office/drawing/2014/main" val="2905124230"/>
                  </a:ext>
                </a:extLst>
              </a:tr>
              <a:tr h="2118208">
                <a:tc>
                  <a:txBody>
                    <a:bodyPr/>
                    <a:lstStyle/>
                    <a:p>
                      <a:pPr marL="0" marR="0">
                        <a:lnSpc>
                          <a:spcPct val="107000"/>
                        </a:lnSpc>
                        <a:spcBef>
                          <a:spcPts val="0"/>
                        </a:spcBef>
                        <a:spcAft>
                          <a:spcPts val="800"/>
                        </a:spcAft>
                      </a:pPr>
                      <a:r>
                        <a:rPr lang="en-CA" sz="1200">
                          <a:effectLst/>
                        </a:rPr>
                        <a:t>3</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GB" sz="1800" b="1" kern="1200" dirty="0">
                          <a:solidFill>
                            <a:schemeClr val="dk1"/>
                          </a:solidFill>
                          <a:effectLst/>
                          <a:latin typeface="+mn-lt"/>
                          <a:ea typeface="+mn-ea"/>
                          <a:cs typeface="+mn-cs"/>
                        </a:rPr>
                        <a:t>Marie Stopes International Senegal Youth Spaces</a:t>
                      </a:r>
                      <a:r>
                        <a:rPr lang="en-GH"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Provides sexual and reproductive health services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Provision of services to the heart of the population: rural, urban, youth, poor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To provide information and ensure access to services requested by adolescents and youth, during the 2016-2020 period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600" dirty="0">
                          <a:effectLst/>
                        </a:rPr>
                        <a:t>To strengthen reproductive health in Senegal, with a focus on adolescents</a:t>
                      </a:r>
                      <a:endParaRPr lang="en-US" sz="1600" dirty="0">
                        <a:effectLst/>
                      </a:endParaRPr>
                    </a:p>
                  </a:txBody>
                  <a:tcPr marL="59908" marR="59908" marT="0" marB="0"/>
                </a:tc>
                <a:tc>
                  <a:txBody>
                    <a:bodyPr/>
                    <a:lstStyle/>
                    <a:p>
                      <a:pPr marL="0" marR="0">
                        <a:lnSpc>
                          <a:spcPct val="107000"/>
                        </a:lnSpc>
                        <a:spcBef>
                          <a:spcPts val="0"/>
                        </a:spcBef>
                        <a:spcAft>
                          <a:spcPts val="800"/>
                        </a:spcAft>
                      </a:pPr>
                      <a:r>
                        <a:rPr lang="en-CA" sz="1600" dirty="0">
                          <a:effectLst/>
                        </a:rPr>
                        <a:t>MSI in partnership with UNFPA and USAID</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931758844"/>
                  </a:ext>
                </a:extLst>
              </a:tr>
            </a:tbl>
          </a:graphicData>
        </a:graphic>
      </p:graphicFrame>
    </p:spTree>
    <p:extLst>
      <p:ext uri="{BB962C8B-B14F-4D97-AF65-F5344CB8AC3E}">
        <p14:creationId xmlns:p14="http://schemas.microsoft.com/office/powerpoint/2010/main" val="12033315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1097280">
              <a:defRPr/>
            </a:pPr>
            <a:fld id="{5FF77A7F-CD4B-4CF1-9820-FDB02CCB5FCE}"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5" name="Slide Number Placeholder 4"/>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17</a:t>
            </a:fld>
            <a:endParaRPr lang="en-US" sz="1440">
              <a:solidFill>
                <a:prstClr val="black">
                  <a:tint val="75000"/>
                </a:prstClr>
              </a:solidFill>
              <a:latin typeface="Arial" panose="020B0604020202020204"/>
            </a:endParaRPr>
          </a:p>
        </p:txBody>
      </p:sp>
      <p:graphicFrame>
        <p:nvGraphicFramePr>
          <p:cNvPr id="8" name="Table 7"/>
          <p:cNvGraphicFramePr>
            <a:graphicFrameLocks noGrp="1"/>
          </p:cNvGraphicFramePr>
          <p:nvPr>
            <p:extLst>
              <p:ext uri="{D42A27DB-BD31-4B8C-83A1-F6EECF244321}">
                <p14:modId xmlns:p14="http://schemas.microsoft.com/office/powerpoint/2010/main" val="2564840039"/>
              </p:ext>
            </p:extLst>
          </p:nvPr>
        </p:nvGraphicFramePr>
        <p:xfrm>
          <a:off x="292420" y="191368"/>
          <a:ext cx="14021749" cy="7712194"/>
        </p:xfrm>
        <a:graphic>
          <a:graphicData uri="http://schemas.openxmlformats.org/drawingml/2006/table">
            <a:tbl>
              <a:tblPr firstRow="1" firstCol="1" bandRow="1">
                <a:tableStyleId>{5C22544A-7EE6-4342-B048-85BDC9FD1C3A}</a:tableStyleId>
              </a:tblPr>
              <a:tblGrid>
                <a:gridCol w="574799">
                  <a:extLst>
                    <a:ext uri="{9D8B030D-6E8A-4147-A177-3AD203B41FA5}">
                      <a16:colId xmlns:a16="http://schemas.microsoft.com/office/drawing/2014/main" val="2516974555"/>
                    </a:ext>
                  </a:extLst>
                </a:gridCol>
                <a:gridCol w="1934416">
                  <a:extLst>
                    <a:ext uri="{9D8B030D-6E8A-4147-A177-3AD203B41FA5}">
                      <a16:colId xmlns:a16="http://schemas.microsoft.com/office/drawing/2014/main" val="3371851953"/>
                    </a:ext>
                  </a:extLst>
                </a:gridCol>
                <a:gridCol w="2217391">
                  <a:extLst>
                    <a:ext uri="{9D8B030D-6E8A-4147-A177-3AD203B41FA5}">
                      <a16:colId xmlns:a16="http://schemas.microsoft.com/office/drawing/2014/main" val="1008998951"/>
                    </a:ext>
                  </a:extLst>
                </a:gridCol>
                <a:gridCol w="2486000">
                  <a:extLst>
                    <a:ext uri="{9D8B030D-6E8A-4147-A177-3AD203B41FA5}">
                      <a16:colId xmlns:a16="http://schemas.microsoft.com/office/drawing/2014/main" val="2978566592"/>
                    </a:ext>
                  </a:extLst>
                </a:gridCol>
                <a:gridCol w="1944364">
                  <a:extLst>
                    <a:ext uri="{9D8B030D-6E8A-4147-A177-3AD203B41FA5}">
                      <a16:colId xmlns:a16="http://schemas.microsoft.com/office/drawing/2014/main" val="493752790"/>
                    </a:ext>
                  </a:extLst>
                </a:gridCol>
                <a:gridCol w="3218869">
                  <a:extLst>
                    <a:ext uri="{9D8B030D-6E8A-4147-A177-3AD203B41FA5}">
                      <a16:colId xmlns:a16="http://schemas.microsoft.com/office/drawing/2014/main" val="1323900198"/>
                    </a:ext>
                  </a:extLst>
                </a:gridCol>
                <a:gridCol w="1645910">
                  <a:extLst>
                    <a:ext uri="{9D8B030D-6E8A-4147-A177-3AD203B41FA5}">
                      <a16:colId xmlns:a16="http://schemas.microsoft.com/office/drawing/2014/main" val="1991921766"/>
                    </a:ext>
                  </a:extLst>
                </a:gridCol>
              </a:tblGrid>
              <a:tr h="961038">
                <a:tc>
                  <a:txBody>
                    <a:bodyPr/>
                    <a:lstStyle/>
                    <a:p>
                      <a:pPr marL="0" marR="0">
                        <a:lnSpc>
                          <a:spcPct val="107000"/>
                        </a:lnSpc>
                        <a:spcBef>
                          <a:spcPts val="0"/>
                        </a:spcBef>
                        <a:spcAft>
                          <a:spcPts val="800"/>
                        </a:spcAft>
                      </a:pPr>
                      <a:br>
                        <a:rPr lang="en-CA" sz="1200" dirty="0">
                          <a:effectLst/>
                        </a:rPr>
                      </a:br>
                      <a:r>
                        <a:rPr lang="en-CA" sz="1200" dirty="0">
                          <a:effectLst/>
                        </a:rPr>
                        <a:t>No.</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br>
                        <a:rPr lang="en-CA" sz="1200" dirty="0">
                          <a:effectLst/>
                        </a:rPr>
                      </a:br>
                      <a:r>
                        <a:rPr lang="en-CA" sz="1200" dirty="0">
                          <a:effectLst/>
                        </a:rPr>
                        <a:t>Interventio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Targeting social determinant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proximal social </a:t>
                      </a:r>
                    </a:p>
                    <a:p>
                      <a:pPr marL="0" marR="0">
                        <a:lnSpc>
                          <a:spcPct val="107000"/>
                        </a:lnSpc>
                        <a:spcBef>
                          <a:spcPts val="0"/>
                        </a:spcBef>
                        <a:spcAft>
                          <a:spcPts val="800"/>
                        </a:spcAft>
                      </a:pPr>
                      <a:r>
                        <a:rPr lang="en-US" sz="1200" dirty="0">
                          <a:effectLst/>
                        </a:rPr>
                        <a:t>determinants (community suppor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knowledge, behaviour </a:t>
                      </a:r>
                    </a:p>
                    <a:p>
                      <a:pPr marL="0" marR="0">
                        <a:lnSpc>
                          <a:spcPct val="107000"/>
                        </a:lnSpc>
                        <a:spcBef>
                          <a:spcPts val="0"/>
                        </a:spcBef>
                        <a:spcAft>
                          <a:spcPts val="800"/>
                        </a:spcAft>
                      </a:pPr>
                      <a:r>
                        <a:rPr lang="en-US" sz="1200" dirty="0">
                          <a:effectLst/>
                        </a:rPr>
                        <a:t>and lifestyl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15000"/>
                        </a:lnSpc>
                        <a:spcBef>
                          <a:spcPts val="0"/>
                        </a:spcBef>
                        <a:spcAft>
                          <a:spcPts val="0"/>
                        </a:spcAft>
                      </a:pPr>
                      <a:r>
                        <a:rPr lang="en-US" sz="1200" dirty="0">
                          <a:effectLst/>
                        </a:rPr>
                        <a:t>Targeting adolescents </a:t>
                      </a:r>
                    </a:p>
                    <a:p>
                      <a:pPr marL="0" marR="0">
                        <a:lnSpc>
                          <a:spcPct val="107000"/>
                        </a:lnSpc>
                        <a:spcBef>
                          <a:spcPts val="0"/>
                        </a:spcBef>
                        <a:spcAft>
                          <a:spcPts val="800"/>
                        </a:spcAft>
                      </a:pPr>
                      <a:r>
                        <a:rPr lang="en-US" sz="1200" dirty="0">
                          <a:effectLst/>
                        </a:rPr>
                        <a:t>and youth health problem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tc>
                  <a:txBody>
                    <a:bodyPr/>
                    <a:lstStyle/>
                    <a:p>
                      <a:pPr marL="0" marR="0">
                        <a:lnSpc>
                          <a:spcPct val="107000"/>
                        </a:lnSpc>
                        <a:spcBef>
                          <a:spcPts val="0"/>
                        </a:spcBef>
                        <a:spcAft>
                          <a:spcPts val="800"/>
                        </a:spcAft>
                      </a:pPr>
                      <a:r>
                        <a:rPr lang="en-CA" sz="1200" dirty="0">
                          <a:effectLst/>
                        </a:rPr>
                        <a:t>Key Implementers and Funding Agencies</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9908" marR="59908" marT="0" marB="0"/>
                </a:tc>
                <a:extLst>
                  <a:ext uri="{0D108BD9-81ED-4DB2-BD59-A6C34878D82A}">
                    <a16:rowId xmlns:a16="http://schemas.microsoft.com/office/drawing/2014/main" val="3759048826"/>
                  </a:ext>
                </a:extLst>
              </a:tr>
              <a:tr h="1757516">
                <a:tc>
                  <a:txBody>
                    <a:bodyPr/>
                    <a:lstStyle/>
                    <a:p>
                      <a:pPr marL="0" marR="0">
                        <a:lnSpc>
                          <a:spcPct val="107000"/>
                        </a:lnSpc>
                        <a:spcBef>
                          <a:spcPts val="0"/>
                        </a:spcBef>
                        <a:spcAft>
                          <a:spcPts val="800"/>
                        </a:spcAft>
                      </a:pPr>
                      <a:r>
                        <a:rPr lang="en-CA" sz="1200">
                          <a:effectLst/>
                        </a:rPr>
                        <a:t>4</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GB" sz="1800" b="1" kern="1200" dirty="0">
                          <a:solidFill>
                            <a:schemeClr val="dk1"/>
                          </a:solidFill>
                          <a:effectLst/>
                          <a:latin typeface="+mn-lt"/>
                          <a:ea typeface="+mn-ea"/>
                          <a:cs typeface="+mn-cs"/>
                        </a:rPr>
                        <a:t>Youth Promotion Project</a:t>
                      </a:r>
                      <a:r>
                        <a:rPr lang="en-GH"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Peer education and mentorship</a:t>
                      </a:r>
                      <a:endParaRPr lang="en-US" sz="1600" dirty="0">
                        <a:effectLst/>
                      </a:endParaRPr>
                    </a:p>
                  </a:txBody>
                  <a:tcPr marL="52981" marR="52981" marT="0" marB="0"/>
                </a:tc>
                <a:tc>
                  <a:txBody>
                    <a:bodyPr/>
                    <a:lstStyle/>
                    <a:p>
                      <a:pPr marL="0" marR="0">
                        <a:lnSpc>
                          <a:spcPct val="107000"/>
                        </a:lnSpc>
                        <a:spcBef>
                          <a:spcPts val="0"/>
                        </a:spcBef>
                        <a:spcAft>
                          <a:spcPts val="800"/>
                        </a:spcAft>
                      </a:pPr>
                      <a:r>
                        <a:rPr lang="en-CA" sz="1600" dirty="0">
                          <a:effectLst/>
                        </a:rPr>
                        <a:t>to allow adolescents and youth to have access to quality information on sexuality, sexually transmitted infections, HIV/AIDS counseling and testing, sexual abuse (rape, abuse and harassmen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a:t>
                      </a:r>
                      <a:r>
                        <a:rPr lang="en-CA" sz="1600" dirty="0" err="1">
                          <a:effectLst/>
                        </a:rPr>
                        <a:t>i</a:t>
                      </a:r>
                      <a:r>
                        <a:rPr lang="en-CA" sz="1600" dirty="0">
                          <a:effectLst/>
                        </a:rPr>
                        <a:t>) information, sensitization in SRAJ or AYRH (Adolescent and Youth reproductive health); (ii) medical care and HIV testing by </a:t>
                      </a:r>
                      <a:r>
                        <a:rPr lang="en-CA" sz="1600" dirty="0" err="1">
                          <a:effectLst/>
                        </a:rPr>
                        <a:t>MoH</a:t>
                      </a:r>
                      <a:r>
                        <a:rPr lang="en-CA" sz="1600" dirty="0">
                          <a:effectLst/>
                        </a:rPr>
                        <a:t> and CCAs.</a:t>
                      </a:r>
                    </a:p>
                    <a:p>
                      <a:pPr marL="0" marR="0">
                        <a:lnSpc>
                          <a:spcPct val="107000"/>
                        </a:lnSpc>
                        <a:spcBef>
                          <a:spcPts val="0"/>
                        </a:spcBef>
                        <a:spcAft>
                          <a:spcPts val="800"/>
                        </a:spcAft>
                      </a:pP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Ministry of Youth, with technical and financial support from partner UNFPA, through the Youth Promotion Project (YPP)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extLst>
                  <a:ext uri="{0D108BD9-81ED-4DB2-BD59-A6C34878D82A}">
                    <a16:rowId xmlns:a16="http://schemas.microsoft.com/office/drawing/2014/main" val="659103877"/>
                  </a:ext>
                </a:extLst>
              </a:tr>
              <a:tr h="706965">
                <a:tc>
                  <a:txBody>
                    <a:bodyPr/>
                    <a:lstStyle/>
                    <a:p>
                      <a:pPr marL="0" marR="0">
                        <a:lnSpc>
                          <a:spcPct val="107000"/>
                        </a:lnSpc>
                        <a:spcBef>
                          <a:spcPts val="0"/>
                        </a:spcBef>
                        <a:spcAft>
                          <a:spcPts val="800"/>
                        </a:spcAft>
                      </a:pPr>
                      <a:r>
                        <a:rPr lang="en-CA" sz="1200">
                          <a:effectLst/>
                        </a:rPr>
                        <a:t>5</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GB" sz="1800" b="1" kern="1200" dirty="0" err="1">
                          <a:solidFill>
                            <a:schemeClr val="dk1"/>
                          </a:solidFill>
                          <a:effectLst/>
                          <a:latin typeface="+mn-lt"/>
                          <a:ea typeface="+mn-ea"/>
                          <a:cs typeface="+mn-cs"/>
                        </a:rPr>
                        <a:t>Espace</a:t>
                      </a:r>
                      <a:r>
                        <a:rPr lang="en-GB" sz="1800" b="1" kern="1200" dirty="0">
                          <a:solidFill>
                            <a:schemeClr val="dk1"/>
                          </a:solidFill>
                          <a:effectLst/>
                          <a:latin typeface="+mn-lt"/>
                          <a:ea typeface="+mn-ea"/>
                          <a:cs typeface="+mn-cs"/>
                        </a:rPr>
                        <a:t> </a:t>
                      </a:r>
                      <a:r>
                        <a:rPr lang="en-GB" sz="1800" b="1" kern="1200" dirty="0" err="1">
                          <a:solidFill>
                            <a:schemeClr val="dk1"/>
                          </a:solidFill>
                          <a:effectLst/>
                          <a:latin typeface="+mn-lt"/>
                          <a:ea typeface="+mn-ea"/>
                          <a:cs typeface="+mn-cs"/>
                        </a:rPr>
                        <a:t>Jeunes</a:t>
                      </a:r>
                      <a:r>
                        <a:rPr lang="en-GB" sz="1800" b="1" kern="1200" dirty="0">
                          <a:solidFill>
                            <a:schemeClr val="dk1"/>
                          </a:solidFill>
                          <a:effectLst/>
                          <a:latin typeface="+mn-lt"/>
                          <a:ea typeface="+mn-ea"/>
                          <a:cs typeface="+mn-cs"/>
                        </a:rPr>
                        <a:t> de Saint-Louis</a:t>
                      </a:r>
                      <a:r>
                        <a:rPr lang="en-GH"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US" sz="1600" dirty="0">
                          <a:effectLst/>
                        </a:rPr>
                        <a:t>Neighborhoods of the commune, notably </a:t>
                      </a:r>
                      <a:r>
                        <a:rPr lang="en-US" sz="1600" dirty="0" err="1">
                          <a:effectLst/>
                        </a:rPr>
                        <a:t>Pikine</a:t>
                      </a:r>
                      <a:r>
                        <a:rPr lang="en-US" sz="1600" dirty="0">
                          <a:effectLst/>
                        </a:rPr>
                        <a:t>, </a:t>
                      </a:r>
                      <a:r>
                        <a:rPr lang="en-US" sz="1600" dirty="0" err="1">
                          <a:effectLst/>
                        </a:rPr>
                        <a:t>Sordaga</a:t>
                      </a:r>
                      <a:r>
                        <a:rPr lang="en-US" sz="1600" dirty="0">
                          <a:effectLst/>
                        </a:rPr>
                        <a:t> and </a:t>
                      </a:r>
                      <a:r>
                        <a:rPr lang="en-US" sz="1600" dirty="0" err="1">
                          <a:effectLst/>
                        </a:rPr>
                        <a:t>Goxu-Mbacc</a:t>
                      </a:r>
                      <a:r>
                        <a:rPr lang="en-US" sz="1600" dirty="0">
                          <a:effectLst/>
                        </a:rPr>
                        <a:t>, where the sexual and reproductive health needs of adolescents and young people are acute</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Improving access to SRH service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GB" sz="1800" kern="1200" dirty="0">
                          <a:solidFill>
                            <a:schemeClr val="dk1"/>
                          </a:solidFill>
                          <a:effectLst/>
                          <a:latin typeface="+mn-lt"/>
                          <a:ea typeface="+mn-ea"/>
                          <a:cs typeface="+mn-cs"/>
                        </a:rPr>
                        <a:t>Free and anonymous HIV testing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indent="0" algn="l" defTabSz="914400" rtl="0" eaLnBrk="1" fontAlgn="auto" latinLnBrk="0" hangingPunct="1">
                        <a:lnSpc>
                          <a:spcPct val="107000"/>
                        </a:lnSpc>
                        <a:spcBef>
                          <a:spcPts val="0"/>
                        </a:spcBef>
                        <a:spcAft>
                          <a:spcPts val="800"/>
                        </a:spcAft>
                        <a:buClrTx/>
                        <a:buSzTx/>
                        <a:buFontTx/>
                        <a:buNone/>
                        <a:tabLst/>
                        <a:defRPr/>
                      </a:pPr>
                      <a:r>
                        <a:rPr lang="en-CA" sz="1600" dirty="0">
                          <a:effectLst/>
                        </a:rPr>
                        <a:t>Ministry of Youth with support from UNFPA; Global Fund through the CNLS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extLst>
                  <a:ext uri="{0D108BD9-81ED-4DB2-BD59-A6C34878D82A}">
                    <a16:rowId xmlns:a16="http://schemas.microsoft.com/office/drawing/2014/main" val="4281295977"/>
                  </a:ext>
                </a:extLst>
              </a:tr>
              <a:tr h="2700872">
                <a:tc>
                  <a:txBody>
                    <a:bodyPr/>
                    <a:lstStyle/>
                    <a:p>
                      <a:pPr marL="0" marR="0">
                        <a:lnSpc>
                          <a:spcPct val="107000"/>
                        </a:lnSpc>
                        <a:spcBef>
                          <a:spcPts val="0"/>
                        </a:spcBef>
                        <a:spcAft>
                          <a:spcPts val="800"/>
                        </a:spcAft>
                      </a:pPr>
                      <a:r>
                        <a:rPr lang="en-CA" sz="1200">
                          <a:effectLst/>
                        </a:rPr>
                        <a:t>6</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GB" sz="1800" b="1" kern="1200" dirty="0">
                          <a:solidFill>
                            <a:schemeClr val="dk1"/>
                          </a:solidFill>
                          <a:effectLst/>
                          <a:latin typeface="+mn-lt"/>
                          <a:ea typeface="+mn-ea"/>
                          <a:cs typeface="+mn-cs"/>
                        </a:rPr>
                        <a:t>Association </a:t>
                      </a:r>
                      <a:r>
                        <a:rPr lang="en-GB" sz="1800" b="1" kern="1200" dirty="0" err="1">
                          <a:solidFill>
                            <a:schemeClr val="dk1"/>
                          </a:solidFill>
                          <a:effectLst/>
                          <a:latin typeface="+mn-lt"/>
                          <a:ea typeface="+mn-ea"/>
                          <a:cs typeface="+mn-cs"/>
                        </a:rPr>
                        <a:t>Sénégalaise</a:t>
                      </a:r>
                      <a:r>
                        <a:rPr lang="en-GB" sz="1800" b="1" kern="1200" dirty="0">
                          <a:solidFill>
                            <a:schemeClr val="dk1"/>
                          </a:solidFill>
                          <a:effectLst/>
                          <a:latin typeface="+mn-lt"/>
                          <a:ea typeface="+mn-ea"/>
                          <a:cs typeface="+mn-cs"/>
                        </a:rPr>
                        <a:t> pour le Bien-</a:t>
                      </a:r>
                      <a:r>
                        <a:rPr lang="en-GB" sz="1800" b="1" kern="1200" dirty="0" err="1">
                          <a:solidFill>
                            <a:schemeClr val="dk1"/>
                          </a:solidFill>
                          <a:effectLst/>
                          <a:latin typeface="+mn-lt"/>
                          <a:ea typeface="+mn-ea"/>
                          <a:cs typeface="+mn-cs"/>
                        </a:rPr>
                        <a:t>Etre</a:t>
                      </a:r>
                      <a:r>
                        <a:rPr lang="en-GB" sz="1800" b="1" kern="1200" dirty="0">
                          <a:solidFill>
                            <a:schemeClr val="dk1"/>
                          </a:solidFill>
                          <a:effectLst/>
                          <a:latin typeface="+mn-lt"/>
                          <a:ea typeface="+mn-ea"/>
                          <a:cs typeface="+mn-cs"/>
                        </a:rPr>
                        <a:t> Familial</a:t>
                      </a:r>
                      <a:r>
                        <a:rPr lang="en-GH" sz="1200" dirty="0">
                          <a:effectLst/>
                        </a:rPr>
                        <a:t> </a:t>
                      </a:r>
                      <a:r>
                        <a:rPr lang="en-CA"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US" sz="1600" dirty="0">
                          <a:effectLst/>
                        </a:rPr>
                        <a:t>Focusing on</a:t>
                      </a:r>
                    </a:p>
                    <a:p>
                      <a:pPr marL="0" marR="0">
                        <a:lnSpc>
                          <a:spcPct val="115000"/>
                        </a:lnSpc>
                        <a:spcBef>
                          <a:spcPts val="0"/>
                        </a:spcBef>
                        <a:spcAft>
                          <a:spcPts val="0"/>
                        </a:spcAft>
                      </a:pPr>
                      <a:r>
                        <a:rPr lang="en-US" sz="1600" dirty="0">
                          <a:effectLst/>
                        </a:rPr>
                        <a:t>adolescent girls' health, education and well-being</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ASBEF implements the Advocacy and Reinforcement of Comprehensive Sexuality Education (PPRESC) and the Project for the "Eradication" of School Pregnancy in Senegal (PEGMISS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to reduce the prevalence of pregnancy in adolescent aged 12-16 years by 25%.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15000"/>
                        </a:lnSpc>
                        <a:spcBef>
                          <a:spcPts val="0"/>
                        </a:spcBef>
                        <a:spcAft>
                          <a:spcPts val="0"/>
                        </a:spcAft>
                      </a:pPr>
                      <a:r>
                        <a:rPr lang="en-CA" sz="1600" dirty="0">
                          <a:effectLst/>
                        </a:rPr>
                        <a:t>Facilitate adolescent girls’ access to gender-responsive comprehensive sexuality education and youth-friendly sexual and reproductive health services, including contraception.</a:t>
                      </a:r>
                      <a:endParaRPr lang="en-US" sz="1600" dirty="0">
                        <a:effectLst/>
                      </a:endParaRPr>
                    </a:p>
                    <a:p>
                      <a:pPr marL="0" marR="0">
                        <a:lnSpc>
                          <a:spcPct val="115000"/>
                        </a:lnSpc>
                        <a:spcBef>
                          <a:spcPts val="0"/>
                        </a:spcBef>
                        <a:spcAft>
                          <a:spcPts val="0"/>
                        </a:spcAft>
                      </a:pPr>
                      <a:r>
                        <a:rPr lang="en-CA" sz="1600" dirty="0">
                          <a:effectLst/>
                        </a:rPr>
                        <a:t>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tc>
                  <a:txBody>
                    <a:bodyPr/>
                    <a:lstStyle/>
                    <a:p>
                      <a:pPr marL="0" marR="0">
                        <a:lnSpc>
                          <a:spcPct val="107000"/>
                        </a:lnSpc>
                        <a:spcBef>
                          <a:spcPts val="0"/>
                        </a:spcBef>
                        <a:spcAft>
                          <a:spcPts val="800"/>
                        </a:spcAft>
                      </a:pPr>
                      <a:r>
                        <a:rPr lang="en-CA" sz="1600" dirty="0">
                          <a:effectLst/>
                        </a:rPr>
                        <a:t>PPJ through the CCAs and the </a:t>
                      </a:r>
                      <a:r>
                        <a:rPr lang="en-CA" sz="1600" dirty="0" err="1">
                          <a:effectLst/>
                        </a:rPr>
                        <a:t>Espace</a:t>
                      </a:r>
                      <a:r>
                        <a:rPr lang="en-CA" sz="1600" dirty="0">
                          <a:effectLst/>
                        </a:rPr>
                        <a:t> </a:t>
                      </a:r>
                      <a:r>
                        <a:rPr lang="en-CA" sz="1600" dirty="0" err="1">
                          <a:effectLst/>
                        </a:rPr>
                        <a:t>jeunes</a:t>
                      </a:r>
                      <a:r>
                        <a:rPr lang="en-CA" sz="1600" dirty="0">
                          <a:effectLst/>
                        </a:rPr>
                        <a:t> de </a:t>
                      </a:r>
                      <a:r>
                        <a:rPr lang="en-CA" sz="1600" dirty="0" err="1">
                          <a:effectLst/>
                        </a:rPr>
                        <a:t>Saint-louis</a:t>
                      </a:r>
                      <a:r>
                        <a:rPr lang="en-CA" sz="1600" dirty="0">
                          <a:effectLst/>
                        </a:rPr>
                        <a:t>; the School Medical Inspectorates and the Action Educative </a:t>
                      </a:r>
                      <a:r>
                        <a:rPr lang="en-CA" sz="1600" dirty="0" err="1">
                          <a:effectLst/>
                        </a:rPr>
                        <a:t>en</a:t>
                      </a:r>
                      <a:r>
                        <a:rPr lang="en-CA" sz="1600" dirty="0">
                          <a:effectLst/>
                        </a:rPr>
                        <a:t> Milieu </a:t>
                      </a:r>
                      <a:r>
                        <a:rPr lang="en-CA" sz="1600" dirty="0" err="1">
                          <a:effectLst/>
                        </a:rPr>
                        <a:t>Ouvert</a:t>
                      </a:r>
                      <a:r>
                        <a:rPr lang="en-CA" sz="1600" dirty="0">
                          <a:effectLst/>
                        </a:rPr>
                        <a:t> (AEMO).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2981" marR="52981" marT="0" marB="0"/>
                </a:tc>
                <a:extLst>
                  <a:ext uri="{0D108BD9-81ED-4DB2-BD59-A6C34878D82A}">
                    <a16:rowId xmlns:a16="http://schemas.microsoft.com/office/drawing/2014/main" val="1344881685"/>
                  </a:ext>
                </a:extLst>
              </a:tr>
            </a:tbl>
          </a:graphicData>
        </a:graphic>
      </p:graphicFrame>
    </p:spTree>
    <p:extLst>
      <p:ext uri="{BB962C8B-B14F-4D97-AF65-F5344CB8AC3E}">
        <p14:creationId xmlns:p14="http://schemas.microsoft.com/office/powerpoint/2010/main" val="8062312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45A9F99-D9B1-4094-A2E2-B90AC1DB7B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7FAF607-473A-4A43-A23D-BBFF5C4117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6" y="0"/>
            <a:ext cx="14630034"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306273" y="185833"/>
            <a:ext cx="5973571" cy="609221"/>
          </a:xfrm>
        </p:spPr>
        <p:txBody>
          <a:bodyPr>
            <a:normAutofit fontScale="90000"/>
          </a:bodyPr>
          <a:lstStyle/>
          <a:p>
            <a:r>
              <a:rPr lang="en-US" sz="4300" dirty="0">
                <a:solidFill>
                  <a:schemeClr val="tx2"/>
                </a:solidFill>
              </a:rPr>
              <a:t>Conclusion</a:t>
            </a:r>
          </a:p>
        </p:txBody>
      </p:sp>
      <p:pic>
        <p:nvPicPr>
          <p:cNvPr id="9" name="Graphic 8" descr="Business Growth">
            <a:extLst>
              <a:ext uri="{FF2B5EF4-FFF2-40B4-BE49-F238E27FC236}">
                <a16:creationId xmlns:a16="http://schemas.microsoft.com/office/drawing/2014/main" id="{1B3F1140-4613-CFB6-4107-2D1105B8A7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4341" y="2152615"/>
            <a:ext cx="4344025" cy="4344025"/>
          </a:xfrm>
          <a:prstGeom prst="rect">
            <a:avLst/>
          </a:prstGeom>
        </p:spPr>
      </p:pic>
      <p:sp>
        <p:nvSpPr>
          <p:cNvPr id="3" name="Content Placeholder 2"/>
          <p:cNvSpPr>
            <a:spLocks noGrp="1"/>
          </p:cNvSpPr>
          <p:nvPr>
            <p:ph idx="1"/>
          </p:nvPr>
        </p:nvSpPr>
        <p:spPr>
          <a:xfrm>
            <a:off x="7150312" y="1143000"/>
            <a:ext cx="7114328" cy="6682154"/>
          </a:xfrm>
        </p:spPr>
        <p:txBody>
          <a:bodyPr anchor="ctr">
            <a:normAutofit fontScale="92500" lnSpcReduction="20000"/>
          </a:bodyPr>
          <a:lstStyle/>
          <a:p>
            <a:pPr>
              <a:lnSpc>
                <a:spcPct val="90000"/>
              </a:lnSpc>
            </a:pPr>
            <a:r>
              <a:rPr lang="en-US" sz="2800" dirty="0">
                <a:solidFill>
                  <a:schemeClr val="tx2"/>
                </a:solidFill>
              </a:rPr>
              <a:t>Overall, the programmes identified are in line with the strategies within the country’s response. </a:t>
            </a:r>
          </a:p>
          <a:p>
            <a:pPr marL="0" indent="0">
              <a:lnSpc>
                <a:spcPct val="90000"/>
              </a:lnSpc>
              <a:buNone/>
            </a:pPr>
            <a:endParaRPr lang="en-US" sz="2800" dirty="0">
              <a:solidFill>
                <a:schemeClr val="tx2"/>
              </a:solidFill>
            </a:endParaRPr>
          </a:p>
          <a:p>
            <a:pPr>
              <a:lnSpc>
                <a:spcPct val="90000"/>
              </a:lnSpc>
            </a:pPr>
            <a:r>
              <a:rPr lang="en-US" sz="2800" dirty="0">
                <a:solidFill>
                  <a:schemeClr val="tx2"/>
                </a:solidFill>
              </a:rPr>
              <a:t>Downside -  the over concentration of stakeholders in one particular area – </a:t>
            </a:r>
            <a:r>
              <a:rPr lang="en-US" sz="2800" dirty="0">
                <a:solidFill>
                  <a:srgbClr val="C00000"/>
                </a:solidFill>
              </a:rPr>
              <a:t>access to information. </a:t>
            </a:r>
            <a:endParaRPr lang="en-US" sz="2800" b="1" dirty="0">
              <a:solidFill>
                <a:srgbClr val="C00000"/>
              </a:solidFill>
            </a:endParaRPr>
          </a:p>
          <a:p>
            <a:pPr>
              <a:lnSpc>
                <a:spcPct val="90000"/>
              </a:lnSpc>
            </a:pPr>
            <a:endParaRPr lang="en-US" sz="2800" dirty="0">
              <a:solidFill>
                <a:schemeClr val="tx2"/>
              </a:solidFill>
            </a:endParaRPr>
          </a:p>
          <a:p>
            <a:pPr>
              <a:lnSpc>
                <a:spcPct val="90000"/>
              </a:lnSpc>
            </a:pPr>
            <a:r>
              <a:rPr lang="en-US" sz="2800" b="1" dirty="0">
                <a:solidFill>
                  <a:schemeClr val="tx2"/>
                </a:solidFill>
              </a:rPr>
              <a:t>Sustainable funding remains a key challenge </a:t>
            </a:r>
            <a:r>
              <a:rPr lang="en-US" sz="2800" dirty="0">
                <a:solidFill>
                  <a:schemeClr val="tx2"/>
                </a:solidFill>
              </a:rPr>
              <a:t>for a number of these interventions.</a:t>
            </a:r>
          </a:p>
          <a:p>
            <a:pPr marL="0" indent="0">
              <a:lnSpc>
                <a:spcPct val="90000"/>
              </a:lnSpc>
              <a:buNone/>
            </a:pPr>
            <a:r>
              <a:rPr lang="en-US" sz="2800" dirty="0">
                <a:solidFill>
                  <a:schemeClr val="tx2"/>
                </a:solidFill>
              </a:rPr>
              <a:t> </a:t>
            </a:r>
          </a:p>
          <a:p>
            <a:pPr lvl="1">
              <a:lnSpc>
                <a:spcPct val="90000"/>
              </a:lnSpc>
            </a:pPr>
            <a:r>
              <a:rPr lang="en-US" dirty="0">
                <a:solidFill>
                  <a:schemeClr val="tx2"/>
                </a:solidFill>
              </a:rPr>
              <a:t>The review shows that most are interventions that begin as pilots and are not scaled across the country for lack of resources or capacity of key players. </a:t>
            </a:r>
          </a:p>
          <a:p>
            <a:pPr marL="548640" lvl="1" indent="0">
              <a:lnSpc>
                <a:spcPct val="90000"/>
              </a:lnSpc>
              <a:buNone/>
            </a:pPr>
            <a:endParaRPr lang="en-US" dirty="0">
              <a:solidFill>
                <a:schemeClr val="tx2"/>
              </a:solidFill>
            </a:endParaRPr>
          </a:p>
          <a:p>
            <a:pPr lvl="1">
              <a:lnSpc>
                <a:spcPct val="90000"/>
              </a:lnSpc>
            </a:pPr>
            <a:r>
              <a:rPr lang="en-US" dirty="0">
                <a:solidFill>
                  <a:schemeClr val="tx2"/>
                </a:solidFill>
              </a:rPr>
              <a:t>The continuity of the interventions often remains in a balance with insufficient funding, especially from government resources.</a:t>
            </a:r>
          </a:p>
          <a:p>
            <a:pPr>
              <a:lnSpc>
                <a:spcPct val="90000"/>
              </a:lnSpc>
            </a:pPr>
            <a:endParaRPr lang="en-US" sz="1500" dirty="0">
              <a:solidFill>
                <a:schemeClr val="tx2"/>
              </a:solidFill>
            </a:endParaRPr>
          </a:p>
        </p:txBody>
      </p:sp>
      <p:grpSp>
        <p:nvGrpSpPr>
          <p:cNvPr id="16" name="Group 15">
            <a:extLst>
              <a:ext uri="{FF2B5EF4-FFF2-40B4-BE49-F238E27FC236}">
                <a16:creationId xmlns:a16="http://schemas.microsoft.com/office/drawing/2014/main" id="{C5F6476F-D303-44D3-B30F-1BA348F0F64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3162" y="63595"/>
            <a:ext cx="7114328" cy="8166006"/>
            <a:chOff x="6095999" y="52996"/>
            <a:chExt cx="6093363" cy="6805005"/>
          </a:xfrm>
          <a:solidFill>
            <a:schemeClr val="accent5">
              <a:alpha val="10000"/>
            </a:schemeClr>
          </a:solidFill>
        </p:grpSpPr>
        <p:sp>
          <p:nvSpPr>
            <p:cNvPr id="17" name="Freeform: Shape 16">
              <a:extLst>
                <a:ext uri="{FF2B5EF4-FFF2-40B4-BE49-F238E27FC236}">
                  <a16:creationId xmlns:a16="http://schemas.microsoft.com/office/drawing/2014/main" id="{C972EB4B-0539-4430-9340-8117B9D7C3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1" y="52996"/>
              <a:ext cx="6093361" cy="6805003"/>
            </a:xfrm>
            <a:custGeom>
              <a:avLst/>
              <a:gdLst>
                <a:gd name="connsiteX0" fmla="*/ 3391253 w 5890489"/>
                <a:gd name="connsiteY0" fmla="*/ 0 h 6578438"/>
                <a:gd name="connsiteX1" fmla="*/ 3434974 w 5890489"/>
                <a:gd name="connsiteY1" fmla="*/ 646 h 6578438"/>
                <a:gd name="connsiteX2" fmla="*/ 3522419 w 5890489"/>
                <a:gd name="connsiteY2" fmla="*/ 2712 h 6578438"/>
                <a:gd name="connsiteX3" fmla="*/ 3610261 w 5890489"/>
                <a:gd name="connsiteY3" fmla="*/ 6458 h 6578438"/>
                <a:gd name="connsiteX4" fmla="*/ 3786872 w 5890489"/>
                <a:gd name="connsiteY4" fmla="*/ 20667 h 6578438"/>
                <a:gd name="connsiteX5" fmla="*/ 3962291 w 5890489"/>
                <a:gd name="connsiteY5" fmla="*/ 43530 h 6578438"/>
                <a:gd name="connsiteX6" fmla="*/ 4135855 w 5890489"/>
                <a:gd name="connsiteY6" fmla="*/ 75176 h 6578438"/>
                <a:gd name="connsiteX7" fmla="*/ 4307299 w 5890489"/>
                <a:gd name="connsiteY7" fmla="*/ 114315 h 6578438"/>
                <a:gd name="connsiteX8" fmla="*/ 4476358 w 5890489"/>
                <a:gd name="connsiteY8" fmla="*/ 160816 h 6578438"/>
                <a:gd name="connsiteX9" fmla="*/ 4559829 w 5890489"/>
                <a:gd name="connsiteY9" fmla="*/ 186779 h 6578438"/>
                <a:gd name="connsiteX10" fmla="*/ 4642901 w 5890489"/>
                <a:gd name="connsiteY10" fmla="*/ 213648 h 6578438"/>
                <a:gd name="connsiteX11" fmla="*/ 5280847 w 5890489"/>
                <a:gd name="connsiteY11" fmla="*/ 485936 h 6578438"/>
                <a:gd name="connsiteX12" fmla="*/ 5865400 w 5890489"/>
                <a:gd name="connsiteY12" fmla="*/ 851099 h 6578438"/>
                <a:gd name="connsiteX13" fmla="*/ 5890489 w 5890489"/>
                <a:gd name="connsiteY13" fmla="*/ 870950 h 6578438"/>
                <a:gd name="connsiteX14" fmla="*/ 5890489 w 5890489"/>
                <a:gd name="connsiteY14" fmla="*/ 1321814 h 6578438"/>
                <a:gd name="connsiteX15" fmla="*/ 5887395 w 5890489"/>
                <a:gd name="connsiteY15" fmla="*/ 1318952 h 6578438"/>
                <a:gd name="connsiteX16" fmla="*/ 5830291 w 5890489"/>
                <a:gd name="connsiteY16" fmla="*/ 1265992 h 6578438"/>
                <a:gd name="connsiteX17" fmla="*/ 5815981 w 5890489"/>
                <a:gd name="connsiteY17" fmla="*/ 1252687 h 6578438"/>
                <a:gd name="connsiteX18" fmla="*/ 5801142 w 5890489"/>
                <a:gd name="connsiteY18" fmla="*/ 1240158 h 6578438"/>
                <a:gd name="connsiteX19" fmla="*/ 5771464 w 5890489"/>
                <a:gd name="connsiteY19" fmla="*/ 1214969 h 6578438"/>
                <a:gd name="connsiteX20" fmla="*/ 5651030 w 5890489"/>
                <a:gd name="connsiteY20" fmla="*/ 1115767 h 6578438"/>
                <a:gd name="connsiteX21" fmla="*/ 5123183 w 5890489"/>
                <a:gd name="connsiteY21" fmla="*/ 780443 h 6578438"/>
                <a:gd name="connsiteX22" fmla="*/ 4533860 w 5890489"/>
                <a:gd name="connsiteY22" fmla="*/ 567701 h 6578438"/>
                <a:gd name="connsiteX23" fmla="*/ 4457281 w 5890489"/>
                <a:gd name="connsiteY23" fmla="*/ 550780 h 6578438"/>
                <a:gd name="connsiteX24" fmla="*/ 4380568 w 5890489"/>
                <a:gd name="connsiteY24" fmla="*/ 535279 h 6578438"/>
                <a:gd name="connsiteX25" fmla="*/ 4303325 w 5890489"/>
                <a:gd name="connsiteY25" fmla="*/ 522879 h 6578438"/>
                <a:gd name="connsiteX26" fmla="*/ 4264769 w 5890489"/>
                <a:gd name="connsiteY26" fmla="*/ 516679 h 6578438"/>
                <a:gd name="connsiteX27" fmla="*/ 4226082 w 5890489"/>
                <a:gd name="connsiteY27" fmla="*/ 511253 h 6578438"/>
                <a:gd name="connsiteX28" fmla="*/ 4070934 w 5890489"/>
                <a:gd name="connsiteY28" fmla="*/ 494848 h 6578438"/>
                <a:gd name="connsiteX29" fmla="*/ 3915521 w 5890489"/>
                <a:gd name="connsiteY29" fmla="*/ 486065 h 6578438"/>
                <a:gd name="connsiteX30" fmla="*/ 3760241 w 5890489"/>
                <a:gd name="connsiteY30" fmla="*/ 484257 h 6578438"/>
                <a:gd name="connsiteX31" fmla="*/ 3682734 w 5890489"/>
                <a:gd name="connsiteY31" fmla="*/ 486581 h 6578438"/>
                <a:gd name="connsiteX32" fmla="*/ 3605491 w 5890489"/>
                <a:gd name="connsiteY32" fmla="*/ 488907 h 6578438"/>
                <a:gd name="connsiteX33" fmla="*/ 3527454 w 5890489"/>
                <a:gd name="connsiteY33" fmla="*/ 493169 h 6578438"/>
                <a:gd name="connsiteX34" fmla="*/ 3449151 w 5890489"/>
                <a:gd name="connsiteY34" fmla="*/ 498336 h 6578438"/>
                <a:gd name="connsiteX35" fmla="*/ 3410067 w 5890489"/>
                <a:gd name="connsiteY35" fmla="*/ 500532 h 6578438"/>
                <a:gd name="connsiteX36" fmla="*/ 3371246 w 5890489"/>
                <a:gd name="connsiteY36" fmla="*/ 504279 h 6578438"/>
                <a:gd name="connsiteX37" fmla="*/ 3293739 w 5890489"/>
                <a:gd name="connsiteY37" fmla="*/ 511512 h 6578438"/>
                <a:gd name="connsiteX38" fmla="*/ 2689445 w 5890489"/>
                <a:gd name="connsiteY38" fmla="*/ 610198 h 6578438"/>
                <a:gd name="connsiteX39" fmla="*/ 2117875 w 5890489"/>
                <a:gd name="connsiteY39" fmla="*/ 800335 h 6578438"/>
                <a:gd name="connsiteX40" fmla="*/ 1981276 w 5890489"/>
                <a:gd name="connsiteY40" fmla="*/ 865566 h 6578438"/>
                <a:gd name="connsiteX41" fmla="*/ 1847991 w 5890489"/>
                <a:gd name="connsiteY41" fmla="*/ 938676 h 6578438"/>
                <a:gd name="connsiteX42" fmla="*/ 1783069 w 5890489"/>
                <a:gd name="connsiteY42" fmla="*/ 978718 h 6578438"/>
                <a:gd name="connsiteX43" fmla="*/ 1750609 w 5890489"/>
                <a:gd name="connsiteY43" fmla="*/ 998869 h 6578438"/>
                <a:gd name="connsiteX44" fmla="*/ 1734312 w 5890489"/>
                <a:gd name="connsiteY44" fmla="*/ 1008945 h 6578438"/>
                <a:gd name="connsiteX45" fmla="*/ 1718547 w 5890489"/>
                <a:gd name="connsiteY45" fmla="*/ 1019924 h 6578438"/>
                <a:gd name="connsiteX46" fmla="*/ 1655481 w 5890489"/>
                <a:gd name="connsiteY46" fmla="*/ 1063582 h 6578438"/>
                <a:gd name="connsiteX47" fmla="*/ 1593077 w 5890489"/>
                <a:gd name="connsiteY47" fmla="*/ 1108664 h 6578438"/>
                <a:gd name="connsiteX48" fmla="*/ 1532263 w 5890489"/>
                <a:gd name="connsiteY48" fmla="*/ 1156197 h 6578438"/>
                <a:gd name="connsiteX49" fmla="*/ 1472509 w 5890489"/>
                <a:gd name="connsiteY49" fmla="*/ 1205152 h 6578438"/>
                <a:gd name="connsiteX50" fmla="*/ 1414212 w 5890489"/>
                <a:gd name="connsiteY50" fmla="*/ 1256175 h 6578438"/>
                <a:gd name="connsiteX51" fmla="*/ 1357242 w 5890489"/>
                <a:gd name="connsiteY51" fmla="*/ 1308359 h 6578438"/>
                <a:gd name="connsiteX52" fmla="*/ 1153072 w 5890489"/>
                <a:gd name="connsiteY52" fmla="*/ 1529498 h 6578438"/>
                <a:gd name="connsiteX53" fmla="*/ 1002694 w 5890489"/>
                <a:gd name="connsiteY53" fmla="*/ 1770658 h 6578438"/>
                <a:gd name="connsiteX54" fmla="*/ 974076 w 5890489"/>
                <a:gd name="connsiteY54" fmla="*/ 1835371 h 6578438"/>
                <a:gd name="connsiteX55" fmla="*/ 949564 w 5890489"/>
                <a:gd name="connsiteY55" fmla="*/ 1903573 h 6578438"/>
                <a:gd name="connsiteX56" fmla="*/ 927173 w 5890489"/>
                <a:gd name="connsiteY56" fmla="*/ 1974229 h 6578438"/>
                <a:gd name="connsiteX57" fmla="*/ 906107 w 5890489"/>
                <a:gd name="connsiteY57" fmla="*/ 2046952 h 6578438"/>
                <a:gd name="connsiteX58" fmla="*/ 751092 w 5890489"/>
                <a:gd name="connsiteY58" fmla="*/ 2676266 h 6578438"/>
                <a:gd name="connsiteX59" fmla="*/ 547189 w 5890489"/>
                <a:gd name="connsiteY59" fmla="*/ 3308422 h 6578438"/>
                <a:gd name="connsiteX60" fmla="*/ 441195 w 5890489"/>
                <a:gd name="connsiteY60" fmla="*/ 3866306 h 6578438"/>
                <a:gd name="connsiteX61" fmla="*/ 527182 w 5890489"/>
                <a:gd name="connsiteY61" fmla="*/ 4439174 h 6578438"/>
                <a:gd name="connsiteX62" fmla="*/ 775073 w 5890489"/>
                <a:gd name="connsiteY62" fmla="*/ 4987240 h 6578438"/>
                <a:gd name="connsiteX63" fmla="*/ 943206 w 5890489"/>
                <a:gd name="connsiteY63" fmla="*/ 5244933 h 6578438"/>
                <a:gd name="connsiteX64" fmla="*/ 1133728 w 5890489"/>
                <a:gd name="connsiteY64" fmla="*/ 5490356 h 6578438"/>
                <a:gd name="connsiteX65" fmla="*/ 1359626 w 5890489"/>
                <a:gd name="connsiteY65" fmla="*/ 5709815 h 6578438"/>
                <a:gd name="connsiteX66" fmla="*/ 1481254 w 5890489"/>
                <a:gd name="connsiteY66" fmla="*/ 5809146 h 6578438"/>
                <a:gd name="connsiteX67" fmla="*/ 1543260 w 5890489"/>
                <a:gd name="connsiteY67" fmla="*/ 5856940 h 6578438"/>
                <a:gd name="connsiteX68" fmla="*/ 1607518 w 5890489"/>
                <a:gd name="connsiteY68" fmla="*/ 5901374 h 6578438"/>
                <a:gd name="connsiteX69" fmla="*/ 2145566 w 5890489"/>
                <a:gd name="connsiteY69" fmla="*/ 6193814 h 6578438"/>
                <a:gd name="connsiteX70" fmla="*/ 2214991 w 5890489"/>
                <a:gd name="connsiteY70" fmla="*/ 6221844 h 6578438"/>
                <a:gd name="connsiteX71" fmla="*/ 2249307 w 5890489"/>
                <a:gd name="connsiteY71" fmla="*/ 6236182 h 6578438"/>
                <a:gd name="connsiteX72" fmla="*/ 2284285 w 5890489"/>
                <a:gd name="connsiteY72" fmla="*/ 6248711 h 6578438"/>
                <a:gd name="connsiteX73" fmla="*/ 2354241 w 5890489"/>
                <a:gd name="connsiteY73" fmla="*/ 6273124 h 6578438"/>
                <a:gd name="connsiteX74" fmla="*/ 2371597 w 5890489"/>
                <a:gd name="connsiteY74" fmla="*/ 6279324 h 6578438"/>
                <a:gd name="connsiteX75" fmla="*/ 2387894 w 5890489"/>
                <a:gd name="connsiteY75" fmla="*/ 6287719 h 6578438"/>
                <a:gd name="connsiteX76" fmla="*/ 2421414 w 5890489"/>
                <a:gd name="connsiteY76" fmla="*/ 6302186 h 6578438"/>
                <a:gd name="connsiteX77" fmla="*/ 2489117 w 5890489"/>
                <a:gd name="connsiteY77" fmla="*/ 6329441 h 6578438"/>
                <a:gd name="connsiteX78" fmla="*/ 2522902 w 5890489"/>
                <a:gd name="connsiteY78" fmla="*/ 6343134 h 6578438"/>
                <a:gd name="connsiteX79" fmla="*/ 2556953 w 5890489"/>
                <a:gd name="connsiteY79" fmla="*/ 6356051 h 6578438"/>
                <a:gd name="connsiteX80" fmla="*/ 2695009 w 5890489"/>
                <a:gd name="connsiteY80" fmla="*/ 6401905 h 6578438"/>
                <a:gd name="connsiteX81" fmla="*/ 3268035 w 5890489"/>
                <a:gd name="connsiteY81" fmla="*/ 6501238 h 6578438"/>
                <a:gd name="connsiteX82" fmla="*/ 3341038 w 5890489"/>
                <a:gd name="connsiteY82" fmla="*/ 6506145 h 6578438"/>
                <a:gd name="connsiteX83" fmla="*/ 3414703 w 5890489"/>
                <a:gd name="connsiteY83" fmla="*/ 6507050 h 6578438"/>
                <a:gd name="connsiteX84" fmla="*/ 3488237 w 5890489"/>
                <a:gd name="connsiteY84" fmla="*/ 6508212 h 6578438"/>
                <a:gd name="connsiteX85" fmla="*/ 3524142 w 5890489"/>
                <a:gd name="connsiteY85" fmla="*/ 6507955 h 6578438"/>
                <a:gd name="connsiteX86" fmla="*/ 3559252 w 5890489"/>
                <a:gd name="connsiteY86" fmla="*/ 6506921 h 6578438"/>
                <a:gd name="connsiteX87" fmla="*/ 3629207 w 5890489"/>
                <a:gd name="connsiteY87" fmla="*/ 6503045 h 6578438"/>
                <a:gd name="connsiteX88" fmla="*/ 3698633 w 5890489"/>
                <a:gd name="connsiteY88" fmla="*/ 6496845 h 6578438"/>
                <a:gd name="connsiteX89" fmla="*/ 3733213 w 5890489"/>
                <a:gd name="connsiteY89" fmla="*/ 6493357 h 6578438"/>
                <a:gd name="connsiteX90" fmla="*/ 3767529 w 5890489"/>
                <a:gd name="connsiteY90" fmla="*/ 6488707 h 6578438"/>
                <a:gd name="connsiteX91" fmla="*/ 3801845 w 5890489"/>
                <a:gd name="connsiteY91" fmla="*/ 6484057 h 6578438"/>
                <a:gd name="connsiteX92" fmla="*/ 3835895 w 5890489"/>
                <a:gd name="connsiteY92" fmla="*/ 6478116 h 6578438"/>
                <a:gd name="connsiteX93" fmla="*/ 4364801 w 5890489"/>
                <a:gd name="connsiteY93" fmla="*/ 6308517 h 6578438"/>
                <a:gd name="connsiteX94" fmla="*/ 4861379 w 5890489"/>
                <a:gd name="connsiteY94" fmla="*/ 6000576 h 6578438"/>
                <a:gd name="connsiteX95" fmla="*/ 5341263 w 5890489"/>
                <a:gd name="connsiteY95" fmla="*/ 5605834 h 6578438"/>
                <a:gd name="connsiteX96" fmla="*/ 5587301 w 5890489"/>
                <a:gd name="connsiteY96" fmla="*/ 5390379 h 6578438"/>
                <a:gd name="connsiteX97" fmla="*/ 5849105 w 5890489"/>
                <a:gd name="connsiteY97" fmla="*/ 5176344 h 6578438"/>
                <a:gd name="connsiteX98" fmla="*/ 5890489 w 5890489"/>
                <a:gd name="connsiteY98" fmla="*/ 5145260 h 6578438"/>
                <a:gd name="connsiteX99" fmla="*/ 5890489 w 5890489"/>
                <a:gd name="connsiteY99" fmla="*/ 5995323 h 6578438"/>
                <a:gd name="connsiteX100" fmla="*/ 5811477 w 5890489"/>
                <a:gd name="connsiteY100" fmla="*/ 6077819 h 6578438"/>
                <a:gd name="connsiteX101" fmla="*/ 5301384 w 5890489"/>
                <a:gd name="connsiteY101" fmla="*/ 6542958 h 6578438"/>
                <a:gd name="connsiteX102" fmla="*/ 5252008 w 5890489"/>
                <a:gd name="connsiteY102" fmla="*/ 6578438 h 6578438"/>
                <a:gd name="connsiteX103" fmla="*/ 1653730 w 5890489"/>
                <a:gd name="connsiteY103" fmla="*/ 6578438 h 6578438"/>
                <a:gd name="connsiteX104" fmla="*/ 1549768 w 5890489"/>
                <a:gd name="connsiteY104" fmla="*/ 6488821 h 6578438"/>
                <a:gd name="connsiteX105" fmla="*/ 1298282 w 5890489"/>
                <a:gd name="connsiteY105" fmla="*/ 6243932 h 6578438"/>
                <a:gd name="connsiteX106" fmla="*/ 1237999 w 5890489"/>
                <a:gd name="connsiteY106" fmla="*/ 6181671 h 6578438"/>
                <a:gd name="connsiteX107" fmla="*/ 1179967 w 5890489"/>
                <a:gd name="connsiteY107" fmla="*/ 6117862 h 6578438"/>
                <a:gd name="connsiteX108" fmla="*/ 1121936 w 5890489"/>
                <a:gd name="connsiteY108" fmla="*/ 6054569 h 6578438"/>
                <a:gd name="connsiteX109" fmla="*/ 1065628 w 5890489"/>
                <a:gd name="connsiteY109" fmla="*/ 5990243 h 6578438"/>
                <a:gd name="connsiteX110" fmla="*/ 954335 w 5890489"/>
                <a:gd name="connsiteY110" fmla="*/ 5861460 h 6578438"/>
                <a:gd name="connsiteX111" fmla="*/ 898953 w 5890489"/>
                <a:gd name="connsiteY111" fmla="*/ 5797393 h 6578438"/>
                <a:gd name="connsiteX112" fmla="*/ 842908 w 5890489"/>
                <a:gd name="connsiteY112" fmla="*/ 5733582 h 6578438"/>
                <a:gd name="connsiteX113" fmla="*/ 622442 w 5890489"/>
                <a:gd name="connsiteY113" fmla="*/ 5471884 h 6578438"/>
                <a:gd name="connsiteX114" fmla="*/ 425559 w 5890489"/>
                <a:gd name="connsiteY114" fmla="*/ 5190036 h 6578438"/>
                <a:gd name="connsiteX115" fmla="*/ 123877 w 5890489"/>
                <a:gd name="connsiteY115" fmla="*/ 4564210 h 6578438"/>
                <a:gd name="connsiteX116" fmla="*/ 130 w 5890489"/>
                <a:gd name="connsiteY116" fmla="*/ 3865530 h 6578438"/>
                <a:gd name="connsiteX117" fmla="*/ 30602 w 5890489"/>
                <a:gd name="connsiteY117" fmla="*/ 3505793 h 6578438"/>
                <a:gd name="connsiteX118" fmla="*/ 126924 w 5890489"/>
                <a:gd name="connsiteY118" fmla="*/ 3157164 h 6578438"/>
                <a:gd name="connsiteX119" fmla="*/ 334803 w 5890489"/>
                <a:gd name="connsiteY119" fmla="*/ 2560530 h 6578438"/>
                <a:gd name="connsiteX120" fmla="*/ 381176 w 5890489"/>
                <a:gd name="connsiteY120" fmla="*/ 2409144 h 6578438"/>
                <a:gd name="connsiteX121" fmla="*/ 425825 w 5890489"/>
                <a:gd name="connsiteY121" fmla="*/ 2255819 h 6578438"/>
                <a:gd name="connsiteX122" fmla="*/ 470210 w 5890489"/>
                <a:gd name="connsiteY122" fmla="*/ 2099523 h 6578438"/>
                <a:gd name="connsiteX123" fmla="*/ 492998 w 5890489"/>
                <a:gd name="connsiteY123" fmla="*/ 2020213 h 6578438"/>
                <a:gd name="connsiteX124" fmla="*/ 517509 w 5890489"/>
                <a:gd name="connsiteY124" fmla="*/ 1939224 h 6578438"/>
                <a:gd name="connsiteX125" fmla="*/ 544007 w 5890489"/>
                <a:gd name="connsiteY125" fmla="*/ 1857201 h 6578438"/>
                <a:gd name="connsiteX126" fmla="*/ 573288 w 5890489"/>
                <a:gd name="connsiteY126" fmla="*/ 1774274 h 6578438"/>
                <a:gd name="connsiteX127" fmla="*/ 606146 w 5890489"/>
                <a:gd name="connsiteY127" fmla="*/ 1690832 h 6578438"/>
                <a:gd name="connsiteX128" fmla="*/ 644569 w 5890489"/>
                <a:gd name="connsiteY128" fmla="*/ 1607775 h 6578438"/>
                <a:gd name="connsiteX129" fmla="*/ 837874 w 5890489"/>
                <a:gd name="connsiteY129" fmla="*/ 1297638 h 6578438"/>
                <a:gd name="connsiteX130" fmla="*/ 1069602 w 5890489"/>
                <a:gd name="connsiteY130" fmla="*/ 1032194 h 6578438"/>
                <a:gd name="connsiteX131" fmla="*/ 1130548 w 5890489"/>
                <a:gd name="connsiteY131" fmla="*/ 970839 h 6578438"/>
                <a:gd name="connsiteX132" fmla="*/ 1192024 w 5890489"/>
                <a:gd name="connsiteY132" fmla="*/ 910129 h 6578438"/>
                <a:gd name="connsiteX133" fmla="*/ 1255356 w 5890489"/>
                <a:gd name="connsiteY133" fmla="*/ 850841 h 6578438"/>
                <a:gd name="connsiteX134" fmla="*/ 1319614 w 5890489"/>
                <a:gd name="connsiteY134" fmla="*/ 792068 h 6578438"/>
                <a:gd name="connsiteX135" fmla="*/ 1385728 w 5890489"/>
                <a:gd name="connsiteY135" fmla="*/ 734975 h 6578438"/>
                <a:gd name="connsiteX136" fmla="*/ 1452768 w 5890489"/>
                <a:gd name="connsiteY136" fmla="*/ 678528 h 6578438"/>
                <a:gd name="connsiteX137" fmla="*/ 1469594 w 5890489"/>
                <a:gd name="connsiteY137" fmla="*/ 664449 h 6578438"/>
                <a:gd name="connsiteX138" fmla="*/ 1487083 w 5890489"/>
                <a:gd name="connsiteY138" fmla="*/ 651015 h 6578438"/>
                <a:gd name="connsiteX139" fmla="*/ 1522193 w 5890489"/>
                <a:gd name="connsiteY139" fmla="*/ 624277 h 6578438"/>
                <a:gd name="connsiteX140" fmla="*/ 1592415 w 5890489"/>
                <a:gd name="connsiteY140" fmla="*/ 570671 h 6578438"/>
                <a:gd name="connsiteX141" fmla="*/ 1738287 w 5890489"/>
                <a:gd name="connsiteY141" fmla="*/ 469402 h 6578438"/>
                <a:gd name="connsiteX142" fmla="*/ 1890918 w 5890489"/>
                <a:gd name="connsiteY142" fmla="*/ 376530 h 6578438"/>
                <a:gd name="connsiteX143" fmla="*/ 2555363 w 5890489"/>
                <a:gd name="connsiteY143" fmla="*/ 105274 h 6578438"/>
                <a:gd name="connsiteX144" fmla="*/ 3259291 w 5890489"/>
                <a:gd name="connsiteY144" fmla="*/ 3229 h 6578438"/>
                <a:gd name="connsiteX145" fmla="*/ 3347265 w 5890489"/>
                <a:gd name="connsiteY145" fmla="*/ 903 h 657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890489" h="6578438">
                  <a:moveTo>
                    <a:pt x="3391253" y="0"/>
                  </a:moveTo>
                  <a:lnTo>
                    <a:pt x="3434974" y="646"/>
                  </a:lnTo>
                  <a:lnTo>
                    <a:pt x="3522419" y="2712"/>
                  </a:lnTo>
                  <a:cubicBezTo>
                    <a:pt x="3551567" y="3488"/>
                    <a:pt x="3580451" y="3746"/>
                    <a:pt x="3610261" y="6458"/>
                  </a:cubicBezTo>
                  <a:cubicBezTo>
                    <a:pt x="3669353" y="10850"/>
                    <a:pt x="3728179" y="14337"/>
                    <a:pt x="3786872" y="20667"/>
                  </a:cubicBezTo>
                  <a:lnTo>
                    <a:pt x="3962291" y="43530"/>
                  </a:lnTo>
                  <a:lnTo>
                    <a:pt x="4135855" y="75176"/>
                  </a:lnTo>
                  <a:cubicBezTo>
                    <a:pt x="4193224" y="87836"/>
                    <a:pt x="4250328" y="101398"/>
                    <a:pt x="4307299" y="114315"/>
                  </a:cubicBezTo>
                  <a:cubicBezTo>
                    <a:pt x="4364139" y="128394"/>
                    <a:pt x="4420050" y="145575"/>
                    <a:pt x="4476358" y="160816"/>
                  </a:cubicBezTo>
                  <a:cubicBezTo>
                    <a:pt x="4504580" y="167921"/>
                    <a:pt x="4532138" y="177995"/>
                    <a:pt x="4559829" y="186779"/>
                  </a:cubicBezTo>
                  <a:lnTo>
                    <a:pt x="4642901" y="213648"/>
                  </a:lnTo>
                  <a:cubicBezTo>
                    <a:pt x="4863234" y="288307"/>
                    <a:pt x="5076414" y="379371"/>
                    <a:pt x="5280847" y="485936"/>
                  </a:cubicBezTo>
                  <a:cubicBezTo>
                    <a:pt x="5485018" y="592631"/>
                    <a:pt x="5681768" y="713145"/>
                    <a:pt x="5865400" y="851099"/>
                  </a:cubicBezTo>
                  <a:lnTo>
                    <a:pt x="5890489" y="870950"/>
                  </a:lnTo>
                  <a:lnTo>
                    <a:pt x="5890489" y="1321814"/>
                  </a:lnTo>
                  <a:lnTo>
                    <a:pt x="5887395" y="1318952"/>
                  </a:lnTo>
                  <a:lnTo>
                    <a:pt x="5830291" y="1265992"/>
                  </a:lnTo>
                  <a:lnTo>
                    <a:pt x="5815981" y="1252687"/>
                  </a:lnTo>
                  <a:lnTo>
                    <a:pt x="5801142" y="1240158"/>
                  </a:lnTo>
                  <a:lnTo>
                    <a:pt x="5771464" y="1214969"/>
                  </a:lnTo>
                  <a:cubicBezTo>
                    <a:pt x="5731849" y="1181385"/>
                    <a:pt x="5692897" y="1146896"/>
                    <a:pt x="5651030" y="1115767"/>
                  </a:cubicBezTo>
                  <a:cubicBezTo>
                    <a:pt x="5487534" y="986985"/>
                    <a:pt x="5311321" y="872542"/>
                    <a:pt x="5123183" y="780443"/>
                  </a:cubicBezTo>
                  <a:cubicBezTo>
                    <a:pt x="4935309" y="688087"/>
                    <a:pt x="4737102" y="616398"/>
                    <a:pt x="4533860" y="567701"/>
                  </a:cubicBezTo>
                  <a:lnTo>
                    <a:pt x="4457281" y="550780"/>
                  </a:lnTo>
                  <a:cubicBezTo>
                    <a:pt x="4431709" y="545484"/>
                    <a:pt x="4406536" y="538896"/>
                    <a:pt x="4380568" y="535279"/>
                  </a:cubicBezTo>
                  <a:lnTo>
                    <a:pt x="4303325" y="522879"/>
                  </a:lnTo>
                  <a:lnTo>
                    <a:pt x="4264769" y="516679"/>
                  </a:lnTo>
                  <a:cubicBezTo>
                    <a:pt x="4251918" y="514612"/>
                    <a:pt x="4239067" y="512415"/>
                    <a:pt x="4226082" y="511253"/>
                  </a:cubicBezTo>
                  <a:cubicBezTo>
                    <a:pt x="4174145" y="505829"/>
                    <a:pt x="4122606" y="499498"/>
                    <a:pt x="4070934" y="494848"/>
                  </a:cubicBezTo>
                  <a:lnTo>
                    <a:pt x="3915521" y="486065"/>
                  </a:lnTo>
                  <a:lnTo>
                    <a:pt x="3760241" y="484257"/>
                  </a:lnTo>
                  <a:cubicBezTo>
                    <a:pt x="3734405" y="483869"/>
                    <a:pt x="3708571" y="485936"/>
                    <a:pt x="3682734" y="486581"/>
                  </a:cubicBezTo>
                  <a:lnTo>
                    <a:pt x="3605491" y="488907"/>
                  </a:lnTo>
                  <a:cubicBezTo>
                    <a:pt x="3579921" y="489165"/>
                    <a:pt x="3553555" y="491490"/>
                    <a:pt x="3527454" y="493169"/>
                  </a:cubicBezTo>
                  <a:lnTo>
                    <a:pt x="3449151" y="498336"/>
                  </a:lnTo>
                  <a:lnTo>
                    <a:pt x="3410067" y="500532"/>
                  </a:lnTo>
                  <a:lnTo>
                    <a:pt x="3371246" y="504279"/>
                  </a:lnTo>
                  <a:cubicBezTo>
                    <a:pt x="3345410" y="506862"/>
                    <a:pt x="3319575" y="509315"/>
                    <a:pt x="3293739" y="511512"/>
                  </a:cubicBezTo>
                  <a:cubicBezTo>
                    <a:pt x="3087450" y="531662"/>
                    <a:pt x="2885531" y="563180"/>
                    <a:pt x="2689445" y="610198"/>
                  </a:cubicBezTo>
                  <a:cubicBezTo>
                    <a:pt x="2493357" y="657344"/>
                    <a:pt x="2302303" y="719088"/>
                    <a:pt x="2117875" y="800335"/>
                  </a:cubicBezTo>
                  <a:cubicBezTo>
                    <a:pt x="2072298" y="821648"/>
                    <a:pt x="2026854" y="843606"/>
                    <a:pt x="1981276" y="865566"/>
                  </a:cubicBezTo>
                  <a:cubicBezTo>
                    <a:pt x="1937025" y="889978"/>
                    <a:pt x="1891978" y="913229"/>
                    <a:pt x="1847991" y="938676"/>
                  </a:cubicBezTo>
                  <a:lnTo>
                    <a:pt x="1783069" y="978718"/>
                  </a:lnTo>
                  <a:lnTo>
                    <a:pt x="1750609" y="998869"/>
                  </a:lnTo>
                  <a:lnTo>
                    <a:pt x="1734312" y="1008945"/>
                  </a:lnTo>
                  <a:lnTo>
                    <a:pt x="1718547" y="1019924"/>
                  </a:lnTo>
                  <a:lnTo>
                    <a:pt x="1655481" y="1063582"/>
                  </a:lnTo>
                  <a:cubicBezTo>
                    <a:pt x="1634414" y="1078178"/>
                    <a:pt x="1612950" y="1092259"/>
                    <a:pt x="1593077" y="1108664"/>
                  </a:cubicBezTo>
                  <a:lnTo>
                    <a:pt x="1532263" y="1156197"/>
                  </a:lnTo>
                  <a:cubicBezTo>
                    <a:pt x="1511992" y="1172085"/>
                    <a:pt x="1491587" y="1187844"/>
                    <a:pt x="1472509" y="1205152"/>
                  </a:cubicBezTo>
                  <a:lnTo>
                    <a:pt x="1414212" y="1256175"/>
                  </a:lnTo>
                  <a:cubicBezTo>
                    <a:pt x="1395001" y="1273354"/>
                    <a:pt x="1375127" y="1290147"/>
                    <a:pt x="1357242" y="1308359"/>
                  </a:cubicBezTo>
                  <a:cubicBezTo>
                    <a:pt x="1283178" y="1379532"/>
                    <a:pt x="1212163" y="1452513"/>
                    <a:pt x="1153072" y="1529498"/>
                  </a:cubicBezTo>
                  <a:cubicBezTo>
                    <a:pt x="1090933" y="1605578"/>
                    <a:pt x="1043501" y="1685794"/>
                    <a:pt x="1002694" y="1770658"/>
                  </a:cubicBezTo>
                  <a:lnTo>
                    <a:pt x="974076" y="1835371"/>
                  </a:lnTo>
                  <a:lnTo>
                    <a:pt x="949564" y="1903573"/>
                  </a:lnTo>
                  <a:cubicBezTo>
                    <a:pt x="940820" y="1925661"/>
                    <a:pt x="934593" y="1950719"/>
                    <a:pt x="927173" y="1974229"/>
                  </a:cubicBezTo>
                  <a:cubicBezTo>
                    <a:pt x="920019" y="1998254"/>
                    <a:pt x="912468" y="2021504"/>
                    <a:pt x="906107" y="2046952"/>
                  </a:cubicBezTo>
                  <a:cubicBezTo>
                    <a:pt x="853906" y="2245614"/>
                    <a:pt x="809918" y="2463136"/>
                    <a:pt x="751092" y="2676266"/>
                  </a:cubicBezTo>
                  <a:cubicBezTo>
                    <a:pt x="693458" y="2889912"/>
                    <a:pt x="624166" y="3100976"/>
                    <a:pt x="547189" y="3308422"/>
                  </a:cubicBezTo>
                  <a:cubicBezTo>
                    <a:pt x="479617" y="3487580"/>
                    <a:pt x="444109" y="3675523"/>
                    <a:pt x="441195" y="3866306"/>
                  </a:cubicBezTo>
                  <a:cubicBezTo>
                    <a:pt x="438014" y="4057089"/>
                    <a:pt x="469282" y="4250456"/>
                    <a:pt x="527182" y="4439174"/>
                  </a:cubicBezTo>
                  <a:cubicBezTo>
                    <a:pt x="584815" y="4628278"/>
                    <a:pt x="671067" y="4811828"/>
                    <a:pt x="775073" y="4987240"/>
                  </a:cubicBezTo>
                  <a:cubicBezTo>
                    <a:pt x="827009" y="5075075"/>
                    <a:pt x="884246" y="5160327"/>
                    <a:pt x="943206" y="5244933"/>
                  </a:cubicBezTo>
                  <a:cubicBezTo>
                    <a:pt x="1002296" y="5329411"/>
                    <a:pt x="1064964" y="5412337"/>
                    <a:pt x="1133728" y="5490356"/>
                  </a:cubicBezTo>
                  <a:cubicBezTo>
                    <a:pt x="1203949" y="5567728"/>
                    <a:pt x="1279337" y="5642259"/>
                    <a:pt x="1359626" y="5709815"/>
                  </a:cubicBezTo>
                  <a:cubicBezTo>
                    <a:pt x="1398711" y="5744949"/>
                    <a:pt x="1439916" y="5777241"/>
                    <a:pt x="1481254" y="5809146"/>
                  </a:cubicBezTo>
                  <a:cubicBezTo>
                    <a:pt x="1501922" y="5825163"/>
                    <a:pt x="1522325" y="5841309"/>
                    <a:pt x="1543260" y="5856940"/>
                  </a:cubicBezTo>
                  <a:cubicBezTo>
                    <a:pt x="1564591" y="5871923"/>
                    <a:pt x="1585921" y="5886777"/>
                    <a:pt x="1607518" y="5901374"/>
                  </a:cubicBezTo>
                  <a:cubicBezTo>
                    <a:pt x="1778565" y="6019693"/>
                    <a:pt x="1961271" y="6115924"/>
                    <a:pt x="2145566" y="6193814"/>
                  </a:cubicBezTo>
                  <a:lnTo>
                    <a:pt x="2214991" y="6221844"/>
                  </a:lnTo>
                  <a:lnTo>
                    <a:pt x="2249307" y="6236182"/>
                  </a:lnTo>
                  <a:cubicBezTo>
                    <a:pt x="2260702" y="6241089"/>
                    <a:pt x="2272625" y="6244577"/>
                    <a:pt x="2284285" y="6248711"/>
                  </a:cubicBezTo>
                  <a:lnTo>
                    <a:pt x="2354241" y="6273124"/>
                  </a:lnTo>
                  <a:cubicBezTo>
                    <a:pt x="2360070" y="6275190"/>
                    <a:pt x="2365899" y="6277128"/>
                    <a:pt x="2371597" y="6279324"/>
                  </a:cubicBezTo>
                  <a:cubicBezTo>
                    <a:pt x="2377161" y="6281778"/>
                    <a:pt x="2382329" y="6285007"/>
                    <a:pt x="2387894" y="6287719"/>
                  </a:cubicBezTo>
                  <a:cubicBezTo>
                    <a:pt x="2398757" y="6293274"/>
                    <a:pt x="2410153" y="6297666"/>
                    <a:pt x="2421414" y="6302186"/>
                  </a:cubicBezTo>
                  <a:lnTo>
                    <a:pt x="2489117" y="6329441"/>
                  </a:lnTo>
                  <a:lnTo>
                    <a:pt x="2522902" y="6343134"/>
                  </a:lnTo>
                  <a:cubicBezTo>
                    <a:pt x="2534165" y="6347654"/>
                    <a:pt x="2545294" y="6352563"/>
                    <a:pt x="2556953" y="6356051"/>
                  </a:cubicBezTo>
                  <a:lnTo>
                    <a:pt x="2695009" y="6401905"/>
                  </a:lnTo>
                  <a:cubicBezTo>
                    <a:pt x="2880895" y="6457190"/>
                    <a:pt x="3073141" y="6489095"/>
                    <a:pt x="3268035" y="6501238"/>
                  </a:cubicBezTo>
                  <a:cubicBezTo>
                    <a:pt x="3292413" y="6502659"/>
                    <a:pt x="3316527" y="6505629"/>
                    <a:pt x="3341038" y="6506145"/>
                  </a:cubicBezTo>
                  <a:lnTo>
                    <a:pt x="3414703" y="6507050"/>
                  </a:lnTo>
                  <a:lnTo>
                    <a:pt x="3488237" y="6508212"/>
                  </a:lnTo>
                  <a:cubicBezTo>
                    <a:pt x="3500690" y="6508729"/>
                    <a:pt x="3512483" y="6508471"/>
                    <a:pt x="3524142" y="6507955"/>
                  </a:cubicBezTo>
                  <a:lnTo>
                    <a:pt x="3559252" y="6506921"/>
                  </a:lnTo>
                  <a:cubicBezTo>
                    <a:pt x="3582835" y="6506792"/>
                    <a:pt x="3605889" y="6504467"/>
                    <a:pt x="3629207" y="6503045"/>
                  </a:cubicBezTo>
                  <a:cubicBezTo>
                    <a:pt x="3652526" y="6502012"/>
                    <a:pt x="3675579" y="6499171"/>
                    <a:pt x="3698633" y="6496845"/>
                  </a:cubicBezTo>
                  <a:cubicBezTo>
                    <a:pt x="3710160" y="6495683"/>
                    <a:pt x="3721819" y="6494907"/>
                    <a:pt x="3733213" y="6493357"/>
                  </a:cubicBezTo>
                  <a:lnTo>
                    <a:pt x="3767529" y="6488707"/>
                  </a:lnTo>
                  <a:lnTo>
                    <a:pt x="3801845" y="6484057"/>
                  </a:lnTo>
                  <a:lnTo>
                    <a:pt x="3835895" y="6478116"/>
                  </a:lnTo>
                  <a:cubicBezTo>
                    <a:pt x="4017673" y="6446727"/>
                    <a:pt x="4194152" y="6390281"/>
                    <a:pt x="4364801" y="6308517"/>
                  </a:cubicBezTo>
                  <a:cubicBezTo>
                    <a:pt x="4535583" y="6227139"/>
                    <a:pt x="4700138" y="6120962"/>
                    <a:pt x="4861379" y="6000576"/>
                  </a:cubicBezTo>
                  <a:cubicBezTo>
                    <a:pt x="5022621" y="5879931"/>
                    <a:pt x="5180684" y="5745337"/>
                    <a:pt x="5341263" y="5605834"/>
                  </a:cubicBezTo>
                  <a:lnTo>
                    <a:pt x="5587301" y="5390379"/>
                  </a:lnTo>
                  <a:cubicBezTo>
                    <a:pt x="5674216" y="5315718"/>
                    <a:pt x="5761527" y="5244416"/>
                    <a:pt x="5849105" y="5176344"/>
                  </a:cubicBezTo>
                  <a:lnTo>
                    <a:pt x="5890489" y="5145260"/>
                  </a:lnTo>
                  <a:lnTo>
                    <a:pt x="5890489" y="5995323"/>
                  </a:lnTo>
                  <a:lnTo>
                    <a:pt x="5811477" y="6077819"/>
                  </a:lnTo>
                  <a:cubicBezTo>
                    <a:pt x="5654739" y="6238377"/>
                    <a:pt x="5487138" y="6396093"/>
                    <a:pt x="5301384" y="6542958"/>
                  </a:cubicBezTo>
                  <a:lnTo>
                    <a:pt x="5252008" y="6578438"/>
                  </a:lnTo>
                  <a:lnTo>
                    <a:pt x="1653730" y="6578438"/>
                  </a:lnTo>
                  <a:lnTo>
                    <a:pt x="1549768" y="6488821"/>
                  </a:lnTo>
                  <a:cubicBezTo>
                    <a:pt x="1461976" y="6409495"/>
                    <a:pt x="1378573" y="6327182"/>
                    <a:pt x="1298282" y="6243932"/>
                  </a:cubicBezTo>
                  <a:cubicBezTo>
                    <a:pt x="1278277" y="6223006"/>
                    <a:pt x="1258138" y="6202210"/>
                    <a:pt x="1237999" y="6181671"/>
                  </a:cubicBezTo>
                  <a:lnTo>
                    <a:pt x="1179967" y="6117862"/>
                  </a:lnTo>
                  <a:lnTo>
                    <a:pt x="1121936" y="6054569"/>
                  </a:lnTo>
                  <a:cubicBezTo>
                    <a:pt x="1102328" y="6033644"/>
                    <a:pt x="1084573" y="6011427"/>
                    <a:pt x="1065628" y="5990243"/>
                  </a:cubicBezTo>
                  <a:cubicBezTo>
                    <a:pt x="1028662" y="5947099"/>
                    <a:pt x="990239" y="5904991"/>
                    <a:pt x="954335" y="5861460"/>
                  </a:cubicBezTo>
                  <a:cubicBezTo>
                    <a:pt x="936050" y="5840018"/>
                    <a:pt x="917634" y="5818446"/>
                    <a:pt x="898953" y="5797393"/>
                  </a:cubicBezTo>
                  <a:cubicBezTo>
                    <a:pt x="880404" y="5776208"/>
                    <a:pt x="861325" y="5755412"/>
                    <a:pt x="842908" y="5733582"/>
                  </a:cubicBezTo>
                  <a:cubicBezTo>
                    <a:pt x="767919" y="5647942"/>
                    <a:pt x="693061" y="5561786"/>
                    <a:pt x="622442" y="5471884"/>
                  </a:cubicBezTo>
                  <a:cubicBezTo>
                    <a:pt x="551559" y="5382112"/>
                    <a:pt x="486639" y="5287430"/>
                    <a:pt x="425559" y="5190036"/>
                  </a:cubicBezTo>
                  <a:cubicBezTo>
                    <a:pt x="303668" y="4994990"/>
                    <a:pt x="200193" y="4786123"/>
                    <a:pt x="123877" y="4564210"/>
                  </a:cubicBezTo>
                  <a:cubicBezTo>
                    <a:pt x="47694" y="4342555"/>
                    <a:pt x="2249" y="4106045"/>
                    <a:pt x="130" y="3865530"/>
                  </a:cubicBezTo>
                  <a:cubicBezTo>
                    <a:pt x="-1328" y="3745403"/>
                    <a:pt x="9537" y="3624629"/>
                    <a:pt x="30602" y="3505793"/>
                  </a:cubicBezTo>
                  <a:cubicBezTo>
                    <a:pt x="51802" y="3386828"/>
                    <a:pt x="84659" y="3270059"/>
                    <a:pt x="126924" y="3157164"/>
                  </a:cubicBezTo>
                  <a:cubicBezTo>
                    <a:pt x="200457" y="2959276"/>
                    <a:pt x="271737" y="2761388"/>
                    <a:pt x="334803" y="2560530"/>
                  </a:cubicBezTo>
                  <a:lnTo>
                    <a:pt x="381176" y="2409144"/>
                  </a:lnTo>
                  <a:lnTo>
                    <a:pt x="425825" y="2255819"/>
                  </a:lnTo>
                  <a:lnTo>
                    <a:pt x="470210" y="2099523"/>
                  </a:lnTo>
                  <a:lnTo>
                    <a:pt x="492998" y="2020213"/>
                  </a:lnTo>
                  <a:lnTo>
                    <a:pt x="517509" y="1939224"/>
                  </a:lnTo>
                  <a:cubicBezTo>
                    <a:pt x="525061" y="1912485"/>
                    <a:pt x="534866" y="1884586"/>
                    <a:pt x="544007" y="1857201"/>
                  </a:cubicBezTo>
                  <a:cubicBezTo>
                    <a:pt x="553680" y="1829559"/>
                    <a:pt x="561496" y="1802304"/>
                    <a:pt x="573288" y="1774274"/>
                  </a:cubicBezTo>
                  <a:lnTo>
                    <a:pt x="606146" y="1690832"/>
                  </a:lnTo>
                  <a:cubicBezTo>
                    <a:pt x="618467" y="1663060"/>
                    <a:pt x="631716" y="1635417"/>
                    <a:pt x="644569" y="1607775"/>
                  </a:cubicBezTo>
                  <a:cubicBezTo>
                    <a:pt x="698625" y="1498368"/>
                    <a:pt x="763413" y="1391287"/>
                    <a:pt x="837874" y="1297638"/>
                  </a:cubicBezTo>
                  <a:cubicBezTo>
                    <a:pt x="910348" y="1201278"/>
                    <a:pt x="990107" y="1115897"/>
                    <a:pt x="1069602" y="1032194"/>
                  </a:cubicBezTo>
                  <a:cubicBezTo>
                    <a:pt x="1089079" y="1010624"/>
                    <a:pt x="1110012" y="990990"/>
                    <a:pt x="1130548" y="970839"/>
                  </a:cubicBezTo>
                  <a:lnTo>
                    <a:pt x="1192024" y="910129"/>
                  </a:lnTo>
                  <a:cubicBezTo>
                    <a:pt x="1212031" y="889462"/>
                    <a:pt x="1234024" y="870475"/>
                    <a:pt x="1255356" y="850841"/>
                  </a:cubicBezTo>
                  <a:lnTo>
                    <a:pt x="1319614" y="792068"/>
                  </a:lnTo>
                  <a:cubicBezTo>
                    <a:pt x="1340680" y="772176"/>
                    <a:pt x="1363469" y="753834"/>
                    <a:pt x="1385728" y="734975"/>
                  </a:cubicBezTo>
                  <a:lnTo>
                    <a:pt x="1452768" y="678528"/>
                  </a:lnTo>
                  <a:lnTo>
                    <a:pt x="1469594" y="664449"/>
                  </a:lnTo>
                  <a:lnTo>
                    <a:pt x="1487083" y="651015"/>
                  </a:lnTo>
                  <a:lnTo>
                    <a:pt x="1522193" y="624277"/>
                  </a:lnTo>
                  <a:lnTo>
                    <a:pt x="1592415" y="570671"/>
                  </a:lnTo>
                  <a:cubicBezTo>
                    <a:pt x="1640110" y="535925"/>
                    <a:pt x="1689531" y="503245"/>
                    <a:pt x="1738287" y="469402"/>
                  </a:cubicBezTo>
                  <a:cubicBezTo>
                    <a:pt x="1788634" y="438015"/>
                    <a:pt x="1839643" y="407013"/>
                    <a:pt x="1890918" y="376530"/>
                  </a:cubicBezTo>
                  <a:cubicBezTo>
                    <a:pt x="2098400" y="258209"/>
                    <a:pt x="2323503" y="166241"/>
                    <a:pt x="2555363" y="105274"/>
                  </a:cubicBezTo>
                  <a:cubicBezTo>
                    <a:pt x="2787223" y="44047"/>
                    <a:pt x="3024516" y="12013"/>
                    <a:pt x="3259291" y="3229"/>
                  </a:cubicBezTo>
                  <a:lnTo>
                    <a:pt x="3347265" y="903"/>
                  </a:ln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CA5348F-9FF6-485F-898D-1BED7EC727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5999" y="52997"/>
              <a:ext cx="6093363" cy="6805004"/>
            </a:xfrm>
            <a:custGeom>
              <a:avLst/>
              <a:gdLst>
                <a:gd name="connsiteX0" fmla="*/ 3517682 w 5890491"/>
                <a:gd name="connsiteY0" fmla="*/ 0 h 6578439"/>
                <a:gd name="connsiteX1" fmla="*/ 5849513 w 5890491"/>
                <a:gd name="connsiteY1" fmla="*/ 841730 h 6578439"/>
                <a:gd name="connsiteX2" fmla="*/ 5890491 w 5890491"/>
                <a:gd name="connsiteY2" fmla="*/ 879061 h 6578439"/>
                <a:gd name="connsiteX3" fmla="*/ 5890491 w 5890491"/>
                <a:gd name="connsiteY3" fmla="*/ 2034114 h 6578439"/>
                <a:gd name="connsiteX4" fmla="*/ 5757065 w 5890491"/>
                <a:gd name="connsiteY4" fmla="*/ 1854938 h 6578439"/>
                <a:gd name="connsiteX5" fmla="*/ 5564060 w 5890491"/>
                <a:gd name="connsiteY5" fmla="*/ 1642182 h 6578439"/>
                <a:gd name="connsiteX6" fmla="*/ 3517551 w 5890491"/>
                <a:gd name="connsiteY6" fmla="*/ 790012 h 6578439"/>
                <a:gd name="connsiteX7" fmla="*/ 1611552 w 5890491"/>
                <a:gd name="connsiteY7" fmla="*/ 1543282 h 6578439"/>
                <a:gd name="connsiteX8" fmla="*/ 1340656 w 5890491"/>
                <a:gd name="connsiteY8" fmla="*/ 1897925 h 6578439"/>
                <a:gd name="connsiteX9" fmla="*/ 1201705 w 5890491"/>
                <a:gd name="connsiteY9" fmla="*/ 2361213 h 6578439"/>
                <a:gd name="connsiteX10" fmla="*/ 852705 w 5890491"/>
                <a:gd name="connsiteY10" fmla="*/ 3529176 h 6578439"/>
                <a:gd name="connsiteX11" fmla="*/ 863863 w 5890491"/>
                <a:gd name="connsiteY11" fmla="*/ 4437051 h 6578439"/>
                <a:gd name="connsiteX12" fmla="*/ 1413569 w 5890491"/>
                <a:gd name="connsiteY12" fmla="*/ 5357174 h 6578439"/>
                <a:gd name="connsiteX13" fmla="*/ 2339129 w 5890491"/>
                <a:gd name="connsiteY13" fmla="*/ 6143367 h 6578439"/>
                <a:gd name="connsiteX14" fmla="*/ 3439449 w 5890491"/>
                <a:gd name="connsiteY14" fmla="*/ 6420049 h 6578439"/>
                <a:gd name="connsiteX15" fmla="*/ 5251388 w 5890491"/>
                <a:gd name="connsiteY15" fmla="*/ 5349009 h 6578439"/>
                <a:gd name="connsiteX16" fmla="*/ 5657731 w 5890491"/>
                <a:gd name="connsiteY16" fmla="*/ 4959205 h 6578439"/>
                <a:gd name="connsiteX17" fmla="*/ 5836127 w 5890491"/>
                <a:gd name="connsiteY17" fmla="*/ 4792052 h 6578439"/>
                <a:gd name="connsiteX18" fmla="*/ 5890491 w 5890491"/>
                <a:gd name="connsiteY18" fmla="*/ 4738662 h 6578439"/>
                <a:gd name="connsiteX19" fmla="*/ 5890491 w 5890491"/>
                <a:gd name="connsiteY19" fmla="*/ 5821964 h 6578439"/>
                <a:gd name="connsiteX20" fmla="*/ 5802001 w 5890491"/>
                <a:gd name="connsiteY20" fmla="*/ 5907904 h 6578439"/>
                <a:gd name="connsiteX21" fmla="*/ 5294358 w 5890491"/>
                <a:gd name="connsiteY21" fmla="*/ 6397505 h 6578439"/>
                <a:gd name="connsiteX22" fmla="*/ 5077178 w 5890491"/>
                <a:gd name="connsiteY22" fmla="*/ 6578439 h 6578439"/>
                <a:gd name="connsiteX23" fmla="*/ 1567290 w 5890491"/>
                <a:gd name="connsiteY23" fmla="*/ 6578439 h 6578439"/>
                <a:gd name="connsiteX24" fmla="*/ 1508588 w 5890491"/>
                <a:gd name="connsiteY24" fmla="*/ 6535186 h 6578439"/>
                <a:gd name="connsiteX25" fmla="*/ 826498 w 5890491"/>
                <a:gd name="connsiteY25" fmla="*/ 5876034 h 6578439"/>
                <a:gd name="connsiteX26" fmla="*/ 122403 w 5890491"/>
                <a:gd name="connsiteY26" fmla="*/ 3255655 h 6578439"/>
                <a:gd name="connsiteX27" fmla="*/ 1061197 w 5890491"/>
                <a:gd name="connsiteY27" fmla="*/ 984650 h 6578439"/>
                <a:gd name="connsiteX28" fmla="*/ 3517682 w 5890491"/>
                <a:gd name="connsiteY28"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0491" h="6578439">
                  <a:moveTo>
                    <a:pt x="3517682" y="0"/>
                  </a:moveTo>
                  <a:cubicBezTo>
                    <a:pt x="4402017" y="0"/>
                    <a:pt x="5213742" y="315483"/>
                    <a:pt x="5849513" y="841730"/>
                  </a:cubicBezTo>
                  <a:lnTo>
                    <a:pt x="5890491" y="879061"/>
                  </a:lnTo>
                  <a:lnTo>
                    <a:pt x="5890491" y="2034114"/>
                  </a:lnTo>
                  <a:lnTo>
                    <a:pt x="5757065" y="1854938"/>
                  </a:lnTo>
                  <a:cubicBezTo>
                    <a:pt x="5696443" y="1781264"/>
                    <a:pt x="5632076" y="1710299"/>
                    <a:pt x="5564060" y="1642182"/>
                  </a:cubicBezTo>
                  <a:cubicBezTo>
                    <a:pt x="5015393" y="1092636"/>
                    <a:pt x="4288592" y="790012"/>
                    <a:pt x="3517551" y="790012"/>
                  </a:cubicBezTo>
                  <a:cubicBezTo>
                    <a:pt x="2701750" y="790012"/>
                    <a:pt x="2131676" y="1015335"/>
                    <a:pt x="1611552" y="1543282"/>
                  </a:cubicBezTo>
                  <a:cubicBezTo>
                    <a:pt x="1435754" y="1721722"/>
                    <a:pt x="1375945" y="1822729"/>
                    <a:pt x="1340656" y="1897925"/>
                  </a:cubicBezTo>
                  <a:cubicBezTo>
                    <a:pt x="1289148" y="2007623"/>
                    <a:pt x="1252432" y="2155907"/>
                    <a:pt x="1201705" y="2361213"/>
                  </a:cubicBezTo>
                  <a:cubicBezTo>
                    <a:pt x="1133721" y="2635919"/>
                    <a:pt x="1040568" y="3012290"/>
                    <a:pt x="852705" y="3529176"/>
                  </a:cubicBezTo>
                  <a:cubicBezTo>
                    <a:pt x="749952" y="3811784"/>
                    <a:pt x="753584" y="4108747"/>
                    <a:pt x="863863" y="4437051"/>
                  </a:cubicBezTo>
                  <a:cubicBezTo>
                    <a:pt x="964800" y="4737438"/>
                    <a:pt x="1154869" y="5055603"/>
                    <a:pt x="1413569" y="5357174"/>
                  </a:cubicBezTo>
                  <a:cubicBezTo>
                    <a:pt x="1718326" y="5712343"/>
                    <a:pt x="2021008" y="5969404"/>
                    <a:pt x="2339129" y="6143367"/>
                  </a:cubicBezTo>
                  <a:cubicBezTo>
                    <a:pt x="2679565" y="6329577"/>
                    <a:pt x="3039591" y="6420049"/>
                    <a:pt x="3439449" y="6420049"/>
                  </a:cubicBezTo>
                  <a:cubicBezTo>
                    <a:pt x="4142246" y="6420049"/>
                    <a:pt x="4633828" y="5976251"/>
                    <a:pt x="5251388" y="5349009"/>
                  </a:cubicBezTo>
                  <a:cubicBezTo>
                    <a:pt x="5389949" y="5208364"/>
                    <a:pt x="5526047" y="5081677"/>
                    <a:pt x="5657731" y="4959205"/>
                  </a:cubicBezTo>
                  <a:cubicBezTo>
                    <a:pt x="5719520" y="4901722"/>
                    <a:pt x="5779200" y="4846206"/>
                    <a:pt x="5836127" y="4792052"/>
                  </a:cubicBezTo>
                  <a:lnTo>
                    <a:pt x="5890491" y="4738662"/>
                  </a:lnTo>
                  <a:lnTo>
                    <a:pt x="5890491" y="5821964"/>
                  </a:lnTo>
                  <a:lnTo>
                    <a:pt x="5802001"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33B89F41-1D91-447A-88C5-8A917809FE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0" y="52997"/>
              <a:ext cx="6093362" cy="6805004"/>
            </a:xfrm>
            <a:custGeom>
              <a:avLst/>
              <a:gdLst>
                <a:gd name="connsiteX0" fmla="*/ 5890490 w 5890490"/>
                <a:gd name="connsiteY0" fmla="*/ 5389037 h 6578439"/>
                <a:gd name="connsiteX1" fmla="*/ 5890490 w 5890490"/>
                <a:gd name="connsiteY1" fmla="*/ 5855587 h 6578439"/>
                <a:gd name="connsiteX2" fmla="*/ 5784593 w 5890490"/>
                <a:gd name="connsiteY2" fmla="*/ 5962054 h 6578439"/>
                <a:gd name="connsiteX3" fmla="*/ 5663414 w 5890490"/>
                <a:gd name="connsiteY3" fmla="*/ 6082564 h 6578439"/>
                <a:gd name="connsiteX4" fmla="*/ 5147099 w 5890490"/>
                <a:gd name="connsiteY4" fmla="*/ 6547726 h 6578439"/>
                <a:gd name="connsiteX5" fmla="*/ 5105015 w 5890490"/>
                <a:gd name="connsiteY5" fmla="*/ 6578439 h 6578439"/>
                <a:gd name="connsiteX6" fmla="*/ 4385601 w 5890490"/>
                <a:gd name="connsiteY6" fmla="*/ 6578439 h 6578439"/>
                <a:gd name="connsiteX7" fmla="*/ 4507252 w 5890490"/>
                <a:gd name="connsiteY7" fmla="*/ 6515968 h 6578439"/>
                <a:gd name="connsiteX8" fmla="*/ 4909330 w 5890490"/>
                <a:gd name="connsiteY8" fmla="*/ 6253453 h 6578439"/>
                <a:gd name="connsiteX9" fmla="*/ 5411374 w 5890490"/>
                <a:gd name="connsiteY9" fmla="*/ 5828544 h 6578439"/>
                <a:gd name="connsiteX10" fmla="*/ 5533570 w 5890490"/>
                <a:gd name="connsiteY10" fmla="*/ 5714534 h 6578439"/>
                <a:gd name="connsiteX11" fmla="*/ 5657425 w 5890490"/>
                <a:gd name="connsiteY11" fmla="*/ 5597650 h 6578439"/>
                <a:gd name="connsiteX12" fmla="*/ 3336813 w 5890490"/>
                <a:gd name="connsiteY12" fmla="*/ 499 h 6578439"/>
                <a:gd name="connsiteX13" fmla="*/ 3513674 w 5890490"/>
                <a:gd name="connsiteY13" fmla="*/ 1202 h 6578439"/>
                <a:gd name="connsiteX14" fmla="*/ 3602743 w 5890490"/>
                <a:gd name="connsiteY14" fmla="*/ 4827 h 6578439"/>
                <a:gd name="connsiteX15" fmla="*/ 3647213 w 5890490"/>
                <a:gd name="connsiteY15" fmla="*/ 6703 h 6578439"/>
                <a:gd name="connsiteX16" fmla="*/ 3691684 w 5890490"/>
                <a:gd name="connsiteY16" fmla="*/ 9453 h 6578439"/>
                <a:gd name="connsiteX17" fmla="*/ 3868927 w 5890490"/>
                <a:gd name="connsiteY17" fmla="*/ 27080 h 6578439"/>
                <a:gd name="connsiteX18" fmla="*/ 5200872 w 5890490"/>
                <a:gd name="connsiteY18" fmla="*/ 472240 h 6578439"/>
                <a:gd name="connsiteX19" fmla="*/ 5772711 w 5890490"/>
                <a:gd name="connsiteY19" fmla="*/ 866334 h 6578439"/>
                <a:gd name="connsiteX20" fmla="*/ 5890490 w 5890490"/>
                <a:gd name="connsiteY20" fmla="*/ 972426 h 6578439"/>
                <a:gd name="connsiteX21" fmla="*/ 5890490 w 5890490"/>
                <a:gd name="connsiteY21" fmla="*/ 1158576 h 6578439"/>
                <a:gd name="connsiteX22" fmla="*/ 5676045 w 5890490"/>
                <a:gd name="connsiteY22" fmla="*/ 986969 h 6578439"/>
                <a:gd name="connsiteX23" fmla="*/ 5103776 w 5890490"/>
                <a:gd name="connsiteY23" fmla="*/ 655879 h 6578439"/>
                <a:gd name="connsiteX24" fmla="*/ 4482465 w 5890490"/>
                <a:gd name="connsiteY24" fmla="*/ 440363 h 6578439"/>
                <a:gd name="connsiteX25" fmla="*/ 4402444 w 5890490"/>
                <a:gd name="connsiteY25" fmla="*/ 422111 h 6578439"/>
                <a:gd name="connsiteX26" fmla="*/ 4322423 w 5890490"/>
                <a:gd name="connsiteY26" fmla="*/ 404610 h 6578439"/>
                <a:gd name="connsiteX27" fmla="*/ 4241892 w 5890490"/>
                <a:gd name="connsiteY27" fmla="*/ 389858 h 6578439"/>
                <a:gd name="connsiteX28" fmla="*/ 4201627 w 5890490"/>
                <a:gd name="connsiteY28" fmla="*/ 382483 h 6578439"/>
                <a:gd name="connsiteX29" fmla="*/ 4161234 w 5890490"/>
                <a:gd name="connsiteY29" fmla="*/ 375857 h 6578439"/>
                <a:gd name="connsiteX30" fmla="*/ 3999280 w 5890490"/>
                <a:gd name="connsiteY30" fmla="*/ 353606 h 6578439"/>
                <a:gd name="connsiteX31" fmla="*/ 3836817 w 5890490"/>
                <a:gd name="connsiteY31" fmla="*/ 338480 h 6578439"/>
                <a:gd name="connsiteX32" fmla="*/ 3673972 w 5890490"/>
                <a:gd name="connsiteY32" fmla="*/ 330604 h 6578439"/>
                <a:gd name="connsiteX33" fmla="*/ 3511126 w 5890490"/>
                <a:gd name="connsiteY33" fmla="*/ 328978 h 6578439"/>
                <a:gd name="connsiteX34" fmla="*/ 3183142 w 5890490"/>
                <a:gd name="connsiteY34" fmla="*/ 342854 h 6578439"/>
                <a:gd name="connsiteX35" fmla="*/ 2541444 w 5890490"/>
                <a:gd name="connsiteY35" fmla="*/ 439988 h 6578439"/>
                <a:gd name="connsiteX36" fmla="*/ 1933895 w 5890490"/>
                <a:gd name="connsiteY36" fmla="*/ 650505 h 6578439"/>
                <a:gd name="connsiteX37" fmla="*/ 1378079 w 5890490"/>
                <a:gd name="connsiteY37" fmla="*/ 983905 h 6578439"/>
                <a:gd name="connsiteX38" fmla="*/ 1312967 w 5890490"/>
                <a:gd name="connsiteY38" fmla="*/ 1033660 h 6578439"/>
                <a:gd name="connsiteX39" fmla="*/ 1248364 w 5890490"/>
                <a:gd name="connsiteY39" fmla="*/ 1084413 h 6578439"/>
                <a:gd name="connsiteX40" fmla="*/ 1185163 w 5890490"/>
                <a:gd name="connsiteY40" fmla="*/ 1137168 h 6578439"/>
                <a:gd name="connsiteX41" fmla="*/ 1122852 w 5890490"/>
                <a:gd name="connsiteY41" fmla="*/ 1190922 h 6578439"/>
                <a:gd name="connsiteX42" fmla="*/ 892092 w 5890490"/>
                <a:gd name="connsiteY42" fmla="*/ 1421440 h 6578439"/>
                <a:gd name="connsiteX43" fmla="*/ 707202 w 5890490"/>
                <a:gd name="connsiteY43" fmla="*/ 1684212 h 6578439"/>
                <a:gd name="connsiteX44" fmla="*/ 670121 w 5890490"/>
                <a:gd name="connsiteY44" fmla="*/ 1756093 h 6578439"/>
                <a:gd name="connsiteX45" fmla="*/ 637630 w 5890490"/>
                <a:gd name="connsiteY45" fmla="*/ 1830724 h 6578439"/>
                <a:gd name="connsiteX46" fmla="*/ 607685 w 5890490"/>
                <a:gd name="connsiteY46" fmla="*/ 1907105 h 6578439"/>
                <a:gd name="connsiteX47" fmla="*/ 580034 w 5890490"/>
                <a:gd name="connsiteY47" fmla="*/ 1984986 h 6578439"/>
                <a:gd name="connsiteX48" fmla="*/ 481919 w 5890490"/>
                <a:gd name="connsiteY48" fmla="*/ 2304386 h 6578439"/>
                <a:gd name="connsiteX49" fmla="*/ 433881 w 5890490"/>
                <a:gd name="connsiteY49" fmla="*/ 2465399 h 6578439"/>
                <a:gd name="connsiteX50" fmla="*/ 384442 w 5890490"/>
                <a:gd name="connsiteY50" fmla="*/ 2626163 h 6578439"/>
                <a:gd name="connsiteX51" fmla="*/ 166039 w 5890490"/>
                <a:gd name="connsiteY51" fmla="*/ 3261338 h 6578439"/>
                <a:gd name="connsiteX52" fmla="*/ 56202 w 5890490"/>
                <a:gd name="connsiteY52" fmla="*/ 3910265 h 6578439"/>
                <a:gd name="connsiteX53" fmla="*/ 93664 w 5890490"/>
                <a:gd name="connsiteY53" fmla="*/ 4237292 h 6578439"/>
                <a:gd name="connsiteX54" fmla="*/ 111758 w 5890490"/>
                <a:gd name="connsiteY54" fmla="*/ 4317548 h 6578439"/>
                <a:gd name="connsiteX55" fmla="*/ 133038 w 5890490"/>
                <a:gd name="connsiteY55" fmla="*/ 4397054 h 6578439"/>
                <a:gd name="connsiteX56" fmla="*/ 157757 w 5890490"/>
                <a:gd name="connsiteY56" fmla="*/ 4475560 h 6578439"/>
                <a:gd name="connsiteX57" fmla="*/ 185153 w 5890490"/>
                <a:gd name="connsiteY57" fmla="*/ 4553066 h 6578439"/>
                <a:gd name="connsiteX58" fmla="*/ 493642 w 5890490"/>
                <a:gd name="connsiteY58" fmla="*/ 5132239 h 6578439"/>
                <a:gd name="connsiteX59" fmla="*/ 914391 w 5890490"/>
                <a:gd name="connsiteY59" fmla="*/ 5636528 h 6578439"/>
                <a:gd name="connsiteX60" fmla="*/ 1402034 w 5890490"/>
                <a:gd name="connsiteY60" fmla="*/ 6076188 h 6578439"/>
                <a:gd name="connsiteX61" fmla="*/ 1664397 w 5890490"/>
                <a:gd name="connsiteY61" fmla="*/ 6267079 h 6578439"/>
                <a:gd name="connsiteX62" fmla="*/ 1938992 w 5890490"/>
                <a:gd name="connsiteY62" fmla="*/ 6434343 h 6578439"/>
                <a:gd name="connsiteX63" fmla="*/ 2225931 w 5890490"/>
                <a:gd name="connsiteY63" fmla="*/ 6574322 h 6578439"/>
                <a:gd name="connsiteX64" fmla="*/ 2236328 w 5890490"/>
                <a:gd name="connsiteY64" fmla="*/ 6578439 h 6578439"/>
                <a:gd name="connsiteX65" fmla="*/ 1504665 w 5890490"/>
                <a:gd name="connsiteY65" fmla="*/ 6578439 h 6578439"/>
                <a:gd name="connsiteX66" fmla="*/ 1456827 w 5890490"/>
                <a:gd name="connsiteY66" fmla="*/ 6543476 h 6578439"/>
                <a:gd name="connsiteX67" fmla="*/ 1188475 w 5890490"/>
                <a:gd name="connsiteY67" fmla="*/ 6314083 h 6578439"/>
                <a:gd name="connsiteX68" fmla="*/ 721728 w 5890490"/>
                <a:gd name="connsiteY68" fmla="*/ 5798666 h 6578439"/>
                <a:gd name="connsiteX69" fmla="*/ 344175 w 5890490"/>
                <a:gd name="connsiteY69" fmla="*/ 5219495 h 6578439"/>
                <a:gd name="connsiteX70" fmla="*/ 87293 w 5890490"/>
                <a:gd name="connsiteY70" fmla="*/ 4583569 h 6578439"/>
                <a:gd name="connsiteX71" fmla="*/ 65886 w 5890490"/>
                <a:gd name="connsiteY71" fmla="*/ 4500813 h 6578439"/>
                <a:gd name="connsiteX72" fmla="*/ 47409 w 5890490"/>
                <a:gd name="connsiteY72" fmla="*/ 4417431 h 6578439"/>
                <a:gd name="connsiteX73" fmla="*/ 39000 w 5890490"/>
                <a:gd name="connsiteY73" fmla="*/ 4375677 h 6578439"/>
                <a:gd name="connsiteX74" fmla="*/ 31610 w 5890490"/>
                <a:gd name="connsiteY74" fmla="*/ 4333674 h 6578439"/>
                <a:gd name="connsiteX75" fmla="*/ 18868 w 5890490"/>
                <a:gd name="connsiteY75" fmla="*/ 4249417 h 6578439"/>
                <a:gd name="connsiteX76" fmla="*/ 646 w 5890490"/>
                <a:gd name="connsiteY76" fmla="*/ 3910265 h 6578439"/>
                <a:gd name="connsiteX77" fmla="*/ 130234 w 5890490"/>
                <a:gd name="connsiteY77" fmla="*/ 3248337 h 6578439"/>
                <a:gd name="connsiteX78" fmla="*/ 335383 w 5890490"/>
                <a:gd name="connsiteY78" fmla="*/ 2611911 h 6578439"/>
                <a:gd name="connsiteX79" fmla="*/ 487272 w 5890490"/>
                <a:gd name="connsiteY79" fmla="*/ 1958609 h 6578439"/>
                <a:gd name="connsiteX80" fmla="*/ 508550 w 5890490"/>
                <a:gd name="connsiteY80" fmla="*/ 1876227 h 6578439"/>
                <a:gd name="connsiteX81" fmla="*/ 531742 w 5890490"/>
                <a:gd name="connsiteY81" fmla="*/ 1793721 h 6578439"/>
                <a:gd name="connsiteX82" fmla="*/ 558245 w 5890490"/>
                <a:gd name="connsiteY82" fmla="*/ 1711465 h 6578439"/>
                <a:gd name="connsiteX83" fmla="*/ 590100 w 5890490"/>
                <a:gd name="connsiteY83" fmla="*/ 1630332 h 6578439"/>
                <a:gd name="connsiteX84" fmla="*/ 758680 w 5890490"/>
                <a:gd name="connsiteY84" fmla="*/ 1322433 h 6578439"/>
                <a:gd name="connsiteX85" fmla="*/ 976317 w 5890490"/>
                <a:gd name="connsiteY85" fmla="*/ 1049286 h 6578439"/>
                <a:gd name="connsiteX86" fmla="*/ 1035314 w 5890490"/>
                <a:gd name="connsiteY86" fmla="*/ 985406 h 6578439"/>
                <a:gd name="connsiteX87" fmla="*/ 1095329 w 5890490"/>
                <a:gd name="connsiteY87" fmla="*/ 922526 h 6578439"/>
                <a:gd name="connsiteX88" fmla="*/ 1157384 w 5890490"/>
                <a:gd name="connsiteY88" fmla="*/ 861271 h 6578439"/>
                <a:gd name="connsiteX89" fmla="*/ 1220841 w 5890490"/>
                <a:gd name="connsiteY89" fmla="*/ 801017 h 6578439"/>
                <a:gd name="connsiteX90" fmla="*/ 1286462 w 5890490"/>
                <a:gd name="connsiteY90" fmla="*/ 742886 h 6578439"/>
                <a:gd name="connsiteX91" fmla="*/ 1353233 w 5890490"/>
                <a:gd name="connsiteY91" fmla="*/ 685632 h 6578439"/>
                <a:gd name="connsiteX92" fmla="*/ 1369924 w 5890490"/>
                <a:gd name="connsiteY92" fmla="*/ 671256 h 6578439"/>
                <a:gd name="connsiteX93" fmla="*/ 1387380 w 5890490"/>
                <a:gd name="connsiteY93" fmla="*/ 657755 h 6578439"/>
                <a:gd name="connsiteX94" fmla="*/ 1422422 w 5890490"/>
                <a:gd name="connsiteY94" fmla="*/ 630877 h 6578439"/>
                <a:gd name="connsiteX95" fmla="*/ 1492759 w 5890490"/>
                <a:gd name="connsiteY95" fmla="*/ 577248 h 6578439"/>
                <a:gd name="connsiteX96" fmla="*/ 1528820 w 5890490"/>
                <a:gd name="connsiteY96" fmla="*/ 551496 h 6578439"/>
                <a:gd name="connsiteX97" fmla="*/ 1565390 w 5890490"/>
                <a:gd name="connsiteY97" fmla="*/ 526370 h 6578439"/>
                <a:gd name="connsiteX98" fmla="*/ 1639040 w 5890490"/>
                <a:gd name="connsiteY98" fmla="*/ 476490 h 6578439"/>
                <a:gd name="connsiteX99" fmla="*/ 1792075 w 5890490"/>
                <a:gd name="connsiteY99" fmla="*/ 384859 h 6578439"/>
                <a:gd name="connsiteX100" fmla="*/ 2455943 w 5890490"/>
                <a:gd name="connsiteY100" fmla="*/ 117836 h 6578439"/>
                <a:gd name="connsiteX101" fmla="*/ 3159952 w 5890490"/>
                <a:gd name="connsiteY101" fmla="*/ 7203 h 6578439"/>
                <a:gd name="connsiteX102" fmla="*/ 3336813 w 5890490"/>
                <a:gd name="connsiteY102" fmla="*/ 499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90490" h="6578439">
                  <a:moveTo>
                    <a:pt x="5890490" y="5389037"/>
                  </a:moveTo>
                  <a:lnTo>
                    <a:pt x="5890490" y="5855587"/>
                  </a:lnTo>
                  <a:lnTo>
                    <a:pt x="5784593" y="5962054"/>
                  </a:lnTo>
                  <a:cubicBezTo>
                    <a:pt x="5744454" y="6002308"/>
                    <a:pt x="5704062" y="6042436"/>
                    <a:pt x="5663414" y="6082564"/>
                  </a:cubicBezTo>
                  <a:cubicBezTo>
                    <a:pt x="5500314" y="6242577"/>
                    <a:pt x="5330970" y="6400714"/>
                    <a:pt x="5147099" y="6547726"/>
                  </a:cubicBezTo>
                  <a:lnTo>
                    <a:pt x="5105015" y="6578439"/>
                  </a:lnTo>
                  <a:lnTo>
                    <a:pt x="4385601" y="6578439"/>
                  </a:lnTo>
                  <a:lnTo>
                    <a:pt x="4507252" y="6515968"/>
                  </a:lnTo>
                  <a:cubicBezTo>
                    <a:pt x="4645901" y="6439679"/>
                    <a:pt x="4779837" y="6350961"/>
                    <a:pt x="4909330" y="6253453"/>
                  </a:cubicBezTo>
                  <a:cubicBezTo>
                    <a:pt x="5082369" y="6123567"/>
                    <a:pt x="5248145" y="5979180"/>
                    <a:pt x="5411374" y="5828544"/>
                  </a:cubicBezTo>
                  <a:cubicBezTo>
                    <a:pt x="5452149" y="5790791"/>
                    <a:pt x="5492924" y="5752788"/>
                    <a:pt x="5533570" y="5714534"/>
                  </a:cubicBezTo>
                  <a:lnTo>
                    <a:pt x="5657425" y="5597650"/>
                  </a:lnTo>
                  <a:close/>
                  <a:moveTo>
                    <a:pt x="3336813" y="499"/>
                  </a:moveTo>
                  <a:cubicBezTo>
                    <a:pt x="3395682" y="-392"/>
                    <a:pt x="3454550" y="-48"/>
                    <a:pt x="3513674" y="1202"/>
                  </a:cubicBezTo>
                  <a:lnTo>
                    <a:pt x="3602743" y="4827"/>
                  </a:lnTo>
                  <a:lnTo>
                    <a:pt x="3647213" y="6703"/>
                  </a:lnTo>
                  <a:cubicBezTo>
                    <a:pt x="3661994" y="7327"/>
                    <a:pt x="3676903" y="7703"/>
                    <a:pt x="3691684" y="9453"/>
                  </a:cubicBezTo>
                  <a:lnTo>
                    <a:pt x="3868927" y="27080"/>
                  </a:lnTo>
                  <a:cubicBezTo>
                    <a:pt x="4340645" y="85584"/>
                    <a:pt x="4795160" y="243221"/>
                    <a:pt x="5200872" y="472240"/>
                  </a:cubicBezTo>
                  <a:cubicBezTo>
                    <a:pt x="5403855" y="587124"/>
                    <a:pt x="5594988" y="719447"/>
                    <a:pt x="5772711" y="866334"/>
                  </a:cubicBezTo>
                  <a:lnTo>
                    <a:pt x="5890490" y="972426"/>
                  </a:lnTo>
                  <a:lnTo>
                    <a:pt x="5890490" y="1158576"/>
                  </a:lnTo>
                  <a:lnTo>
                    <a:pt x="5676045" y="986969"/>
                  </a:lnTo>
                  <a:cubicBezTo>
                    <a:pt x="5496587" y="857740"/>
                    <a:pt x="5304275" y="746699"/>
                    <a:pt x="5103776" y="655879"/>
                  </a:cubicBezTo>
                  <a:cubicBezTo>
                    <a:pt x="4903214" y="564747"/>
                    <a:pt x="4695006" y="492492"/>
                    <a:pt x="4482465" y="440363"/>
                  </a:cubicBezTo>
                  <a:lnTo>
                    <a:pt x="4402444" y="422111"/>
                  </a:lnTo>
                  <a:cubicBezTo>
                    <a:pt x="4375813" y="416111"/>
                    <a:pt x="4349436" y="408859"/>
                    <a:pt x="4322423" y="404610"/>
                  </a:cubicBezTo>
                  <a:lnTo>
                    <a:pt x="4241892" y="389858"/>
                  </a:lnTo>
                  <a:lnTo>
                    <a:pt x="4201627" y="382483"/>
                  </a:lnTo>
                  <a:cubicBezTo>
                    <a:pt x="4188248" y="379983"/>
                    <a:pt x="4174869" y="377483"/>
                    <a:pt x="4161234" y="375857"/>
                  </a:cubicBezTo>
                  <a:cubicBezTo>
                    <a:pt x="4107208" y="368482"/>
                    <a:pt x="4053308" y="360482"/>
                    <a:pt x="3999280" y="353606"/>
                  </a:cubicBezTo>
                  <a:cubicBezTo>
                    <a:pt x="3944999" y="348855"/>
                    <a:pt x="3890844" y="343854"/>
                    <a:pt x="3836817" y="338480"/>
                  </a:cubicBezTo>
                  <a:lnTo>
                    <a:pt x="3673972" y="330604"/>
                  </a:lnTo>
                  <a:cubicBezTo>
                    <a:pt x="3619690" y="329104"/>
                    <a:pt x="3565281" y="329604"/>
                    <a:pt x="3511126" y="328978"/>
                  </a:cubicBezTo>
                  <a:cubicBezTo>
                    <a:pt x="3402054" y="330728"/>
                    <a:pt x="3291706" y="334604"/>
                    <a:pt x="3183142" y="342854"/>
                  </a:cubicBezTo>
                  <a:cubicBezTo>
                    <a:pt x="2965505" y="358855"/>
                    <a:pt x="2750670" y="389733"/>
                    <a:pt x="2541444" y="439988"/>
                  </a:cubicBezTo>
                  <a:cubicBezTo>
                    <a:pt x="2332216" y="490117"/>
                    <a:pt x="2128850" y="559997"/>
                    <a:pt x="1933895" y="650505"/>
                  </a:cubicBezTo>
                  <a:cubicBezTo>
                    <a:pt x="1738939" y="741261"/>
                    <a:pt x="1553540" y="854146"/>
                    <a:pt x="1378079" y="983905"/>
                  </a:cubicBezTo>
                  <a:lnTo>
                    <a:pt x="1312967" y="1033660"/>
                  </a:lnTo>
                  <a:cubicBezTo>
                    <a:pt x="1291178" y="1050286"/>
                    <a:pt x="1269006" y="1066412"/>
                    <a:pt x="1248364" y="1084413"/>
                  </a:cubicBezTo>
                  <a:lnTo>
                    <a:pt x="1185163" y="1137168"/>
                  </a:lnTo>
                  <a:cubicBezTo>
                    <a:pt x="1164138" y="1154794"/>
                    <a:pt x="1142603" y="1172046"/>
                    <a:pt x="1122852" y="1190922"/>
                  </a:cubicBezTo>
                  <a:cubicBezTo>
                    <a:pt x="1041557" y="1264303"/>
                    <a:pt x="961663" y="1339309"/>
                    <a:pt x="892092" y="1421440"/>
                  </a:cubicBezTo>
                  <a:cubicBezTo>
                    <a:pt x="819589" y="1501822"/>
                    <a:pt x="759827" y="1590329"/>
                    <a:pt x="707202" y="1684212"/>
                  </a:cubicBezTo>
                  <a:cubicBezTo>
                    <a:pt x="694715" y="1708089"/>
                    <a:pt x="682227" y="1731841"/>
                    <a:pt x="670121" y="1756093"/>
                  </a:cubicBezTo>
                  <a:lnTo>
                    <a:pt x="637630" y="1830724"/>
                  </a:lnTo>
                  <a:cubicBezTo>
                    <a:pt x="626161" y="1855350"/>
                    <a:pt x="617624" y="1881603"/>
                    <a:pt x="607685" y="1907105"/>
                  </a:cubicBezTo>
                  <a:cubicBezTo>
                    <a:pt x="598128" y="1932857"/>
                    <a:pt x="588317" y="1958483"/>
                    <a:pt x="580034" y="1984986"/>
                  </a:cubicBezTo>
                  <a:cubicBezTo>
                    <a:pt x="544611" y="2089620"/>
                    <a:pt x="513393" y="2197128"/>
                    <a:pt x="481919" y="2304386"/>
                  </a:cubicBezTo>
                  <a:lnTo>
                    <a:pt x="433881" y="2465399"/>
                  </a:lnTo>
                  <a:lnTo>
                    <a:pt x="384442" y="2626163"/>
                  </a:lnTo>
                  <a:cubicBezTo>
                    <a:pt x="317672" y="2839680"/>
                    <a:pt x="243129" y="3050946"/>
                    <a:pt x="166039" y="3261338"/>
                  </a:cubicBezTo>
                  <a:cubicBezTo>
                    <a:pt x="88822" y="3468979"/>
                    <a:pt x="50850" y="3690248"/>
                    <a:pt x="56202" y="3910265"/>
                  </a:cubicBezTo>
                  <a:cubicBezTo>
                    <a:pt x="58495" y="4020274"/>
                    <a:pt x="71493" y="4129783"/>
                    <a:pt x="93664" y="4237292"/>
                  </a:cubicBezTo>
                  <a:cubicBezTo>
                    <a:pt x="99143" y="4264168"/>
                    <a:pt x="104623" y="4291045"/>
                    <a:pt x="111758" y="4317548"/>
                  </a:cubicBezTo>
                  <a:cubicBezTo>
                    <a:pt x="118384" y="4344176"/>
                    <a:pt x="124627" y="4370802"/>
                    <a:pt x="133038" y="4397054"/>
                  </a:cubicBezTo>
                  <a:cubicBezTo>
                    <a:pt x="140810" y="4423307"/>
                    <a:pt x="148456" y="4449683"/>
                    <a:pt x="157757" y="4475560"/>
                  </a:cubicBezTo>
                  <a:cubicBezTo>
                    <a:pt x="166549" y="4501562"/>
                    <a:pt x="175087" y="4527564"/>
                    <a:pt x="185153" y="4553066"/>
                  </a:cubicBezTo>
                  <a:cubicBezTo>
                    <a:pt x="262371" y="4758458"/>
                    <a:pt x="368895" y="4951974"/>
                    <a:pt x="493642" y="5132239"/>
                  </a:cubicBezTo>
                  <a:cubicBezTo>
                    <a:pt x="618389" y="5312627"/>
                    <a:pt x="760846" y="5480391"/>
                    <a:pt x="914391" y="5636528"/>
                  </a:cubicBezTo>
                  <a:cubicBezTo>
                    <a:pt x="1069081" y="5793166"/>
                    <a:pt x="1231544" y="5941677"/>
                    <a:pt x="1402034" y="6076188"/>
                  </a:cubicBezTo>
                  <a:cubicBezTo>
                    <a:pt x="1487535" y="6143320"/>
                    <a:pt x="1574565" y="6207574"/>
                    <a:pt x="1664397" y="6267079"/>
                  </a:cubicBezTo>
                  <a:cubicBezTo>
                    <a:pt x="1753592" y="6327459"/>
                    <a:pt x="1845336" y="6383088"/>
                    <a:pt x="1938992" y="6434343"/>
                  </a:cubicBezTo>
                  <a:cubicBezTo>
                    <a:pt x="2032647" y="6485659"/>
                    <a:pt x="2128309" y="6532600"/>
                    <a:pt x="2225931" y="6574322"/>
                  </a:cubicBezTo>
                  <a:lnTo>
                    <a:pt x="2236328" y="6578439"/>
                  </a:lnTo>
                  <a:lnTo>
                    <a:pt x="1504665" y="6578439"/>
                  </a:lnTo>
                  <a:lnTo>
                    <a:pt x="1456827" y="6543476"/>
                  </a:lnTo>
                  <a:cubicBezTo>
                    <a:pt x="1363554" y="6470595"/>
                    <a:pt x="1273848" y="6394340"/>
                    <a:pt x="1188475" y="6314083"/>
                  </a:cubicBezTo>
                  <a:cubicBezTo>
                    <a:pt x="1017856" y="6153445"/>
                    <a:pt x="863803" y="5979931"/>
                    <a:pt x="721728" y="5798666"/>
                  </a:cubicBezTo>
                  <a:cubicBezTo>
                    <a:pt x="579397" y="5616027"/>
                    <a:pt x="452103" y="5422511"/>
                    <a:pt x="344175" y="5219495"/>
                  </a:cubicBezTo>
                  <a:cubicBezTo>
                    <a:pt x="236505" y="5016354"/>
                    <a:pt x="147946" y="4803586"/>
                    <a:pt x="87293" y="4583569"/>
                  </a:cubicBezTo>
                  <a:cubicBezTo>
                    <a:pt x="79138" y="4556193"/>
                    <a:pt x="72639" y="4528440"/>
                    <a:pt x="65886" y="4500813"/>
                  </a:cubicBezTo>
                  <a:cubicBezTo>
                    <a:pt x="58751" y="4473311"/>
                    <a:pt x="53144" y="4445308"/>
                    <a:pt x="47409" y="4417431"/>
                  </a:cubicBezTo>
                  <a:cubicBezTo>
                    <a:pt x="44733" y="4403430"/>
                    <a:pt x="41294" y="4389679"/>
                    <a:pt x="39000" y="4375677"/>
                  </a:cubicBezTo>
                  <a:lnTo>
                    <a:pt x="31610" y="4333674"/>
                  </a:lnTo>
                  <a:cubicBezTo>
                    <a:pt x="26258" y="4305797"/>
                    <a:pt x="22563" y="4277544"/>
                    <a:pt x="18868" y="4249417"/>
                  </a:cubicBezTo>
                  <a:cubicBezTo>
                    <a:pt x="4214" y="4136784"/>
                    <a:pt x="-2158" y="4023275"/>
                    <a:pt x="646" y="3910265"/>
                  </a:cubicBezTo>
                  <a:cubicBezTo>
                    <a:pt x="5997" y="3683872"/>
                    <a:pt x="50596" y="3459605"/>
                    <a:pt x="130234" y="3248337"/>
                  </a:cubicBezTo>
                  <a:cubicBezTo>
                    <a:pt x="207961" y="3039196"/>
                    <a:pt x="278044" y="2827179"/>
                    <a:pt x="335383" y="2611911"/>
                  </a:cubicBezTo>
                  <a:cubicBezTo>
                    <a:pt x="393743" y="2396644"/>
                    <a:pt x="435792" y="2178627"/>
                    <a:pt x="487272" y="1958609"/>
                  </a:cubicBezTo>
                  <a:cubicBezTo>
                    <a:pt x="493259" y="1931107"/>
                    <a:pt x="501287" y="1903730"/>
                    <a:pt x="508550" y="1876227"/>
                  </a:cubicBezTo>
                  <a:cubicBezTo>
                    <a:pt x="516195" y="1848725"/>
                    <a:pt x="522312" y="1820972"/>
                    <a:pt x="531742" y="1793721"/>
                  </a:cubicBezTo>
                  <a:lnTo>
                    <a:pt x="558245" y="1711465"/>
                  </a:lnTo>
                  <a:cubicBezTo>
                    <a:pt x="568439" y="1684337"/>
                    <a:pt x="579652" y="1657459"/>
                    <a:pt x="590100" y="1630332"/>
                  </a:cubicBezTo>
                  <a:cubicBezTo>
                    <a:pt x="635080" y="1523075"/>
                    <a:pt x="690637" y="1417566"/>
                    <a:pt x="758680" y="1322433"/>
                  </a:cubicBezTo>
                  <a:cubicBezTo>
                    <a:pt x="824430" y="1225051"/>
                    <a:pt x="899610" y="1136168"/>
                    <a:pt x="976317" y="1049286"/>
                  </a:cubicBezTo>
                  <a:cubicBezTo>
                    <a:pt x="995049" y="1027035"/>
                    <a:pt x="1015436" y="1006533"/>
                    <a:pt x="1035314" y="985406"/>
                  </a:cubicBezTo>
                  <a:lnTo>
                    <a:pt x="1095329" y="922526"/>
                  </a:lnTo>
                  <a:cubicBezTo>
                    <a:pt x="1114953" y="901149"/>
                    <a:pt x="1136359" y="881397"/>
                    <a:pt x="1157384" y="861271"/>
                  </a:cubicBezTo>
                  <a:lnTo>
                    <a:pt x="1220841" y="801017"/>
                  </a:lnTo>
                  <a:cubicBezTo>
                    <a:pt x="1241610" y="780514"/>
                    <a:pt x="1264418" y="762014"/>
                    <a:pt x="1286462" y="742886"/>
                  </a:cubicBezTo>
                  <a:lnTo>
                    <a:pt x="1353233" y="685632"/>
                  </a:lnTo>
                  <a:lnTo>
                    <a:pt x="1369924" y="671256"/>
                  </a:lnTo>
                  <a:cubicBezTo>
                    <a:pt x="1375658" y="666631"/>
                    <a:pt x="1381520" y="662255"/>
                    <a:pt x="1387380" y="657755"/>
                  </a:cubicBezTo>
                  <a:lnTo>
                    <a:pt x="1422422" y="630877"/>
                  </a:lnTo>
                  <a:lnTo>
                    <a:pt x="1492759" y="577248"/>
                  </a:lnTo>
                  <a:cubicBezTo>
                    <a:pt x="1504355" y="567997"/>
                    <a:pt x="1516714" y="559997"/>
                    <a:pt x="1528820" y="551496"/>
                  </a:cubicBezTo>
                  <a:lnTo>
                    <a:pt x="1565390" y="526370"/>
                  </a:lnTo>
                  <a:lnTo>
                    <a:pt x="1639040" y="476490"/>
                  </a:lnTo>
                  <a:cubicBezTo>
                    <a:pt x="1689754" y="445613"/>
                    <a:pt x="1740723" y="414986"/>
                    <a:pt x="1792075" y="384859"/>
                  </a:cubicBezTo>
                  <a:cubicBezTo>
                    <a:pt x="2000282" y="268724"/>
                    <a:pt x="2224927" y="179467"/>
                    <a:pt x="2455943" y="117836"/>
                  </a:cubicBezTo>
                  <a:cubicBezTo>
                    <a:pt x="2687088" y="55957"/>
                    <a:pt x="2923964" y="21204"/>
                    <a:pt x="3159952" y="7203"/>
                  </a:cubicBezTo>
                  <a:cubicBezTo>
                    <a:pt x="3219076" y="3515"/>
                    <a:pt x="3277945" y="1389"/>
                    <a:pt x="3336813" y="49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Date Placeholder 3"/>
          <p:cNvSpPr>
            <a:spLocks noGrp="1"/>
          </p:cNvSpPr>
          <p:nvPr>
            <p:ph type="dt" sz="half" idx="10"/>
          </p:nvPr>
        </p:nvSpPr>
        <p:spPr/>
        <p:txBody>
          <a:bodyPr/>
          <a:lstStyle/>
          <a:p>
            <a:pPr defTabSz="1097280">
              <a:spcAft>
                <a:spcPts val="600"/>
              </a:spcAft>
              <a:defRPr/>
            </a:pPr>
            <a:fld id="{5FF77A7F-CD4B-4CF1-9820-FDB02CCB5FCE}" type="datetime1">
              <a:rPr lang="en-US" sz="1440">
                <a:solidFill>
                  <a:prstClr val="black">
                    <a:tint val="75000"/>
                  </a:prstClr>
                </a:solidFill>
                <a:latin typeface="Arial" panose="020B0604020202020204"/>
              </a:rPr>
              <a:pPr defTabSz="1097280">
                <a:spcAft>
                  <a:spcPts val="600"/>
                </a:spcAft>
                <a:defRPr/>
              </a:pPr>
              <a:t>9/6/23</a:t>
            </a:fld>
            <a:endParaRPr lang="en-US" sz="1440">
              <a:solidFill>
                <a:prstClr val="black">
                  <a:tint val="75000"/>
                </a:prstClr>
              </a:solidFill>
              <a:latin typeface="Arial" panose="020B0604020202020204"/>
            </a:endParaRPr>
          </a:p>
        </p:txBody>
      </p:sp>
      <p:sp>
        <p:nvSpPr>
          <p:cNvPr id="5" name="Slide Number Placeholder 4"/>
          <p:cNvSpPr>
            <a:spLocks noGrp="1"/>
          </p:cNvSpPr>
          <p:nvPr>
            <p:ph type="sldNum" sz="quarter" idx="12"/>
          </p:nvPr>
        </p:nvSpPr>
        <p:spPr/>
        <p:txBody>
          <a:bodyPr/>
          <a:lstStyle/>
          <a:p>
            <a:pPr algn="r" defTabSz="1097280">
              <a:spcAft>
                <a:spcPts val="600"/>
              </a:spcAft>
              <a:defRPr/>
            </a:pPr>
            <a:fld id="{1DB6C988-4D17-4769-AFD6-9FA8E95C5F4D}" type="slidenum">
              <a:rPr lang="en-US" sz="1440">
                <a:solidFill>
                  <a:prstClr val="black">
                    <a:tint val="75000"/>
                  </a:prstClr>
                </a:solidFill>
                <a:latin typeface="Arial" panose="020B0604020202020204"/>
              </a:rPr>
              <a:pPr algn="r" defTabSz="1097280">
                <a:spcAft>
                  <a:spcPts val="600"/>
                </a:spcAft>
                <a:defRPr/>
              </a:pPr>
              <a:t>18</a:t>
            </a:fld>
            <a:endParaRPr lang="en-US" sz="1440">
              <a:solidFill>
                <a:prstClr val="black">
                  <a:tint val="75000"/>
                </a:prstClr>
              </a:solidFill>
              <a:latin typeface="Arial" panose="020B0604020202020204"/>
            </a:endParaRPr>
          </a:p>
        </p:txBody>
      </p:sp>
    </p:spTree>
    <p:extLst>
      <p:ext uri="{BB962C8B-B14F-4D97-AF65-F5344CB8AC3E}">
        <p14:creationId xmlns:p14="http://schemas.microsoft.com/office/powerpoint/2010/main" val="19497650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13344"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11" name="Title 10"/>
          <p:cNvSpPr>
            <a:spLocks noGrp="1"/>
          </p:cNvSpPr>
          <p:nvPr>
            <p:ph type="title"/>
          </p:nvPr>
        </p:nvSpPr>
        <p:spPr>
          <a:xfrm>
            <a:off x="703384" y="3749992"/>
            <a:ext cx="12256477" cy="2070515"/>
          </a:xfrm>
        </p:spPr>
        <p:txBody>
          <a:bodyPr vert="horz"/>
          <a:lstStyle/>
          <a:p>
            <a:pPr>
              <a:spcAft>
                <a:spcPts val="2160"/>
              </a:spcAft>
            </a:pPr>
            <a:r>
              <a:rPr lang="en-US" sz="4000" dirty="0">
                <a:ea typeface="Verdana" pitchFamily="34" charset="0"/>
                <a:cs typeface="Verdana" pitchFamily="34" charset="0"/>
              </a:rPr>
              <a:t>Cost interventions identified as priority interventions for addressing adolescent health in Ghana &amp; Senegal</a:t>
            </a:r>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pPr defTabSz="1097280">
              <a:defRPr/>
            </a:pPr>
            <a:endParaRPr lang="en-US" sz="1440" dirty="0">
              <a:solidFill>
                <a:prstClr val="black">
                  <a:tint val="75000"/>
                </a:prstClr>
              </a:solidFill>
              <a:latin typeface="Arial" panose="020B0604020202020204"/>
            </a:endParaRPr>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a:xfrm>
            <a:off x="12502341" y="7627621"/>
            <a:ext cx="1811826" cy="438150"/>
          </a:xfrm>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19</a:t>
            </a:fld>
            <a:endParaRPr lang="en-US" sz="1440">
              <a:solidFill>
                <a:prstClr val="black">
                  <a:tint val="75000"/>
                </a:prstClr>
              </a:solidFill>
              <a:latin typeface="Arial" panose="020B0604020202020204"/>
            </a:endParaRPr>
          </a:p>
        </p:txBody>
      </p:sp>
    </p:spTree>
    <p:extLst>
      <p:ext uri="{BB962C8B-B14F-4D97-AF65-F5344CB8AC3E}">
        <p14:creationId xmlns:p14="http://schemas.microsoft.com/office/powerpoint/2010/main" val="2277819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5152"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11" name="Title 10"/>
          <p:cNvSpPr>
            <a:spLocks noGrp="1"/>
          </p:cNvSpPr>
          <p:nvPr>
            <p:ph type="title"/>
          </p:nvPr>
        </p:nvSpPr>
        <p:spPr/>
        <p:txBody>
          <a:bodyPr vert="horz"/>
          <a:lstStyle/>
          <a:p>
            <a:r>
              <a:rPr lang="en-US" sz="3360" b="1" dirty="0"/>
              <a:t>Outline</a:t>
            </a:r>
          </a:p>
        </p:txBody>
      </p:sp>
      <p:sp>
        <p:nvSpPr>
          <p:cNvPr id="12" name="Content Placeholder 11"/>
          <p:cNvSpPr>
            <a:spLocks noGrp="1"/>
          </p:cNvSpPr>
          <p:nvPr>
            <p:ph idx="1"/>
          </p:nvPr>
        </p:nvSpPr>
        <p:spPr/>
        <p:txBody>
          <a:bodyPr>
            <a:normAutofit/>
          </a:bodyPr>
          <a:lstStyle/>
          <a:p>
            <a:r>
              <a:rPr lang="en-US" sz="2400" dirty="0"/>
              <a:t>Introduction</a:t>
            </a:r>
          </a:p>
          <a:p>
            <a:r>
              <a:rPr lang="en-US" sz="2400" dirty="0"/>
              <a:t>Project Overview</a:t>
            </a:r>
          </a:p>
          <a:p>
            <a:r>
              <a:rPr lang="en-US" sz="2400" dirty="0"/>
              <a:t>Results </a:t>
            </a:r>
          </a:p>
          <a:p>
            <a:pPr marL="674370" lvl="2">
              <a:spcBef>
                <a:spcPts val="1200"/>
              </a:spcBef>
            </a:pPr>
            <a:r>
              <a:rPr lang="en-US" sz="2200" dirty="0"/>
              <a:t>Priority areas selected</a:t>
            </a:r>
          </a:p>
          <a:p>
            <a:pPr marL="674370" lvl="2">
              <a:spcBef>
                <a:spcPts val="1200"/>
              </a:spcBef>
            </a:pPr>
            <a:r>
              <a:rPr lang="en-US" sz="2200" dirty="0"/>
              <a:t>Costing</a:t>
            </a:r>
          </a:p>
          <a:p>
            <a:pPr marL="674370" lvl="2">
              <a:spcBef>
                <a:spcPts val="1200"/>
              </a:spcBef>
            </a:pPr>
            <a:r>
              <a:rPr lang="en-US" sz="2200" dirty="0"/>
              <a:t>Qualitative study-sustainability funding for ASRH</a:t>
            </a:r>
          </a:p>
          <a:p>
            <a:r>
              <a:rPr lang="en-US" sz="2400" dirty="0"/>
              <a:t>Conclusion</a:t>
            </a:r>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pPr defTabSz="1097280">
              <a:defRPr/>
            </a:pPr>
            <a:fld id="{5532CCE1-A0C2-41E5-A591-F2780608C8A4}" type="datetime1">
              <a:rPr lang="en-US" sz="1440">
                <a:solidFill>
                  <a:prstClr val="black">
                    <a:tint val="75000"/>
                  </a:prstClr>
                </a:solidFill>
                <a:latin typeface="Arial" panose="020B0604020202020204"/>
              </a:rPr>
              <a:pPr defTabSz="1097280">
                <a:defRPr/>
              </a:pPr>
              <a:t>9/6/23</a:t>
            </a:fld>
            <a:endParaRPr lang="en-US" sz="1440" dirty="0">
              <a:solidFill>
                <a:prstClr val="black">
                  <a:tint val="75000"/>
                </a:prstClr>
              </a:solidFill>
              <a:latin typeface="Arial" panose="020B0604020202020204"/>
            </a:endParaRPr>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2</a:t>
            </a:fld>
            <a:endParaRPr lang="en-US" sz="1440">
              <a:solidFill>
                <a:prstClr val="black">
                  <a:tint val="75000"/>
                </a:prstClr>
              </a:solidFill>
              <a:latin typeface="Arial" panose="020B0604020202020204"/>
            </a:endParaRPr>
          </a:p>
        </p:txBody>
      </p:sp>
    </p:spTree>
    <p:extLst>
      <p:ext uri="{BB962C8B-B14F-4D97-AF65-F5344CB8AC3E}">
        <p14:creationId xmlns:p14="http://schemas.microsoft.com/office/powerpoint/2010/main" val="19229270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24A81D27-B0F7-3345-AC33-0F57A25CFE73}"/>
              </a:ext>
            </a:extLst>
          </p:cNvPr>
          <p:cNvSpPr txBox="1"/>
          <p:nvPr/>
        </p:nvSpPr>
        <p:spPr>
          <a:xfrm>
            <a:off x="642025" y="822960"/>
            <a:ext cx="3336325" cy="6126480"/>
          </a:xfrm>
          <a:prstGeom prst="rect">
            <a:avLst/>
          </a:prstGeom>
        </p:spPr>
        <p:txBody>
          <a:bodyPr vert="horz" lIns="109728" tIns="54864" rIns="109728" bIns="54864" rtlCol="0" anchor="ctr">
            <a:normAutofit/>
          </a:bodyPr>
          <a:lstStyle/>
          <a:p>
            <a:pPr>
              <a:lnSpc>
                <a:spcPct val="90000"/>
              </a:lnSpc>
              <a:spcBef>
                <a:spcPct val="0"/>
              </a:spcBef>
              <a:spcAft>
                <a:spcPts val="720"/>
              </a:spcAft>
            </a:pPr>
            <a:r>
              <a:rPr lang="en-US" sz="4800" b="1">
                <a:solidFill>
                  <a:srgbClr val="FFFFFF"/>
                </a:solidFill>
                <a:latin typeface="+mj-lt"/>
                <a:ea typeface="+mj-ea"/>
                <a:cs typeface="+mj-cs"/>
              </a:rPr>
              <a:t>Materials and methods</a:t>
            </a:r>
            <a:endParaRPr lang="en-US" sz="4800">
              <a:solidFill>
                <a:srgbClr val="FFFFFF"/>
              </a:solidFill>
              <a:latin typeface="+mj-lt"/>
              <a:ea typeface="+mj-ea"/>
              <a:cs typeface="+mj-cs"/>
            </a:endParaRPr>
          </a:p>
        </p:txBody>
      </p:sp>
      <p:pic>
        <p:nvPicPr>
          <p:cNvPr id="74" name="Picture 66">
            <a:extLst>
              <a:ext uri="{FF2B5EF4-FFF2-40B4-BE49-F238E27FC236}">
                <a16:creationId xmlns:a16="http://schemas.microsoft.com/office/drawing/2014/main" id="{7522B891-BE05-522B-43C3-C58F04337135}"/>
              </a:ext>
            </a:extLst>
          </p:cNvPr>
          <p:cNvPicPr>
            <a:picLocks noChangeAspect="1"/>
          </p:cNvPicPr>
          <p:nvPr/>
        </p:nvPicPr>
        <p:blipFill rotWithShape="1">
          <a:blip r:embed="rId2"/>
          <a:srcRect l="30303" r="21103" b="-1"/>
          <a:stretch/>
        </p:blipFill>
        <p:spPr>
          <a:xfrm>
            <a:off x="12087226" y="12"/>
            <a:ext cx="2543174" cy="8229588"/>
          </a:xfrm>
          <a:prstGeom prst="rect">
            <a:avLst/>
          </a:prstGeom>
          <a:effectLst/>
        </p:spPr>
      </p:pic>
      <p:graphicFrame>
        <p:nvGraphicFramePr>
          <p:cNvPr id="20" name="TextBox 8">
            <a:extLst>
              <a:ext uri="{FF2B5EF4-FFF2-40B4-BE49-F238E27FC236}">
                <a16:creationId xmlns:a16="http://schemas.microsoft.com/office/drawing/2014/main" id="{65422203-AD8C-A51B-664A-FAFF5E4250B4}"/>
              </a:ext>
            </a:extLst>
          </p:cNvPr>
          <p:cNvGraphicFramePr/>
          <p:nvPr>
            <p:extLst>
              <p:ext uri="{D42A27DB-BD31-4B8C-83A1-F6EECF244321}">
                <p14:modId xmlns:p14="http://schemas.microsoft.com/office/powerpoint/2010/main" val="993676317"/>
              </p:ext>
            </p:extLst>
          </p:nvPr>
        </p:nvGraphicFramePr>
        <p:xfrm>
          <a:off x="642025" y="876724"/>
          <a:ext cx="10686375" cy="6709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 name="TextBox 50">
            <a:extLst>
              <a:ext uri="{FF2B5EF4-FFF2-40B4-BE49-F238E27FC236}">
                <a16:creationId xmlns:a16="http://schemas.microsoft.com/office/drawing/2014/main" id="{C3CB23D8-E46C-1841-AF23-D20BFFFB5980}"/>
              </a:ext>
            </a:extLst>
          </p:cNvPr>
          <p:cNvSpPr txBox="1"/>
          <p:nvPr/>
        </p:nvSpPr>
        <p:spPr>
          <a:xfrm>
            <a:off x="2584070" y="157345"/>
            <a:ext cx="7319830" cy="461665"/>
          </a:xfrm>
          <a:prstGeom prst="rect">
            <a:avLst/>
          </a:prstGeom>
          <a:noFill/>
        </p:spPr>
        <p:txBody>
          <a:bodyPr wrap="square">
            <a:spAutoFit/>
          </a:bodyPr>
          <a:lstStyle/>
          <a:p>
            <a:pPr algn="ctr"/>
            <a:r>
              <a:rPr lang="en-US" sz="2400" dirty="0"/>
              <a:t>Materials and Methods</a:t>
            </a:r>
          </a:p>
        </p:txBody>
      </p:sp>
    </p:spTree>
    <p:extLst>
      <p:ext uri="{BB962C8B-B14F-4D97-AF65-F5344CB8AC3E}">
        <p14:creationId xmlns:p14="http://schemas.microsoft.com/office/powerpoint/2010/main" val="3755018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46350E4-1E45-8742-BFD7-3BEF11777391}"/>
              </a:ext>
            </a:extLst>
          </p:cNvPr>
          <p:cNvSpPr txBox="1"/>
          <p:nvPr/>
        </p:nvSpPr>
        <p:spPr>
          <a:xfrm>
            <a:off x="821547" y="1838659"/>
            <a:ext cx="5619895" cy="4243483"/>
          </a:xfrm>
          <a:prstGeom prst="rect">
            <a:avLst/>
          </a:prstGeom>
        </p:spPr>
        <p:txBody>
          <a:bodyPr vert="horz" lIns="109728" tIns="54864" rIns="109728" bIns="54864" rtlCol="0">
            <a:normAutofit/>
          </a:bodyPr>
          <a:lstStyle/>
          <a:p>
            <a:pPr>
              <a:lnSpc>
                <a:spcPct val="90000"/>
              </a:lnSpc>
              <a:spcAft>
                <a:spcPts val="720"/>
              </a:spcAft>
            </a:pPr>
            <a:r>
              <a:rPr lang="en-US" sz="2040" dirty="0"/>
              <a:t>All activities identified for costing were grouped into key categories of delivering services. </a:t>
            </a:r>
          </a:p>
          <a:p>
            <a:pPr>
              <a:lnSpc>
                <a:spcPct val="90000"/>
              </a:lnSpc>
              <a:spcAft>
                <a:spcPts val="720"/>
              </a:spcAft>
            </a:pPr>
            <a:endParaRPr lang="en-US" sz="2040" dirty="0"/>
          </a:p>
          <a:p>
            <a:pPr>
              <a:lnSpc>
                <a:spcPct val="90000"/>
              </a:lnSpc>
              <a:spcAft>
                <a:spcPts val="720"/>
              </a:spcAft>
            </a:pPr>
            <a:r>
              <a:rPr lang="en-US" sz="2040" dirty="0"/>
              <a:t>These include the procurement of commodities and supplies, training, communications, community outreaches, administrative and travel expenses, and other associated costs. </a:t>
            </a:r>
          </a:p>
          <a:p>
            <a:pPr>
              <a:lnSpc>
                <a:spcPct val="90000"/>
              </a:lnSpc>
              <a:spcAft>
                <a:spcPts val="720"/>
              </a:spcAft>
            </a:pPr>
            <a:endParaRPr lang="en-US" sz="2040" dirty="0"/>
          </a:p>
          <a:p>
            <a:pPr>
              <a:lnSpc>
                <a:spcPct val="90000"/>
              </a:lnSpc>
              <a:spcAft>
                <a:spcPts val="720"/>
              </a:spcAft>
            </a:pPr>
            <a:r>
              <a:rPr lang="en-US" sz="2040" dirty="0"/>
              <a:t>Financial costs do not include costs of resources already paid for or owned by the government such as health workers’ salaries.</a:t>
            </a:r>
          </a:p>
        </p:txBody>
      </p:sp>
      <p:sp>
        <p:nvSpPr>
          <p:cNvPr id="2" name="Date Placeholder 1">
            <a:extLst>
              <a:ext uri="{FF2B5EF4-FFF2-40B4-BE49-F238E27FC236}">
                <a16:creationId xmlns:a16="http://schemas.microsoft.com/office/drawing/2014/main" id="{A3178116-0493-B14F-9104-5D2D19C69414}"/>
              </a:ext>
            </a:extLst>
          </p:cNvPr>
          <p:cNvSpPr>
            <a:spLocks noGrp="1"/>
          </p:cNvSpPr>
          <p:nvPr>
            <p:ph type="dt" sz="half" idx="10"/>
          </p:nvPr>
        </p:nvSpPr>
        <p:spPr>
          <a:xfrm>
            <a:off x="12626909" y="6627572"/>
            <a:ext cx="1484112" cy="438150"/>
          </a:xfrm>
        </p:spPr>
        <p:txBody>
          <a:bodyPr vert="horz" lIns="109728" tIns="54864" rIns="109728" bIns="54864" rtlCol="0" anchor="ctr">
            <a:normAutofit/>
          </a:bodyPr>
          <a:lstStyle/>
          <a:p>
            <a:pPr algn="r">
              <a:spcAft>
                <a:spcPts val="720"/>
              </a:spcAft>
              <a:defRPr/>
            </a:pPr>
            <a:fld id="{FFA915CC-8CD6-41FC-8E94-7DE00D48C25A}" type="datetime1">
              <a:rPr lang="en-US" sz="1320">
                <a:solidFill>
                  <a:schemeClr val="tx1">
                    <a:alpha val="80000"/>
                  </a:schemeClr>
                </a:solidFill>
              </a:rPr>
              <a:pPr algn="r">
                <a:spcAft>
                  <a:spcPts val="720"/>
                </a:spcAft>
                <a:defRPr/>
              </a:pPr>
              <a:t>9/6/23</a:t>
            </a:fld>
            <a:endParaRPr lang="en-US" sz="1320">
              <a:solidFill>
                <a:schemeClr val="tx1">
                  <a:alpha val="80000"/>
                </a:schemeClr>
              </a:solidFill>
            </a:endParaRPr>
          </a:p>
        </p:txBody>
      </p:sp>
      <p:sp>
        <p:nvSpPr>
          <p:cNvPr id="3" name="Slide Number Placeholder 2">
            <a:extLst>
              <a:ext uri="{FF2B5EF4-FFF2-40B4-BE49-F238E27FC236}">
                <a16:creationId xmlns:a16="http://schemas.microsoft.com/office/drawing/2014/main" id="{82540F70-8C29-5B4E-9F84-D038804184AD}"/>
              </a:ext>
            </a:extLst>
          </p:cNvPr>
          <p:cNvSpPr>
            <a:spLocks noGrp="1"/>
          </p:cNvSpPr>
          <p:nvPr>
            <p:ph type="sldNum" sz="quarter" idx="12"/>
          </p:nvPr>
        </p:nvSpPr>
        <p:spPr>
          <a:xfrm>
            <a:off x="13375843" y="7242048"/>
            <a:ext cx="658368" cy="658368"/>
          </a:xfrm>
          <a:prstGeom prst="ellipse">
            <a:avLst/>
          </a:prstGeom>
          <a:solidFill>
            <a:schemeClr val="tx1">
              <a:alpha val="80000"/>
            </a:schemeClr>
          </a:solidFill>
        </p:spPr>
        <p:txBody>
          <a:bodyPr vert="horz" lIns="109728" tIns="54864" rIns="109728" bIns="54864" rtlCol="0" anchor="ctr">
            <a:normAutofit/>
          </a:bodyPr>
          <a:lstStyle/>
          <a:p>
            <a:pPr algn="ctr">
              <a:spcAft>
                <a:spcPts val="720"/>
              </a:spcAft>
              <a:defRPr/>
            </a:pPr>
            <a:fld id="{1DB6C988-4D17-4769-AFD6-9FA8E95C5F4D}" type="slidenum">
              <a:rPr lang="en-US">
                <a:solidFill>
                  <a:schemeClr val="bg1"/>
                </a:solidFill>
              </a:rPr>
              <a:pPr algn="ctr">
                <a:spcAft>
                  <a:spcPts val="720"/>
                </a:spcAft>
                <a:defRPr/>
              </a:pPr>
              <a:t>21</a:t>
            </a:fld>
            <a:endParaRPr lang="en-US">
              <a:solidFill>
                <a:schemeClr val="bg1"/>
              </a:solidFill>
            </a:endParaRPr>
          </a:p>
        </p:txBody>
      </p:sp>
      <p:sp>
        <p:nvSpPr>
          <p:cNvPr id="9" name="TextBox 8">
            <a:extLst>
              <a:ext uri="{FF2B5EF4-FFF2-40B4-BE49-F238E27FC236}">
                <a16:creationId xmlns:a16="http://schemas.microsoft.com/office/drawing/2014/main" id="{AD838BFE-D5F1-CC48-A97B-A2F95061A2A2}"/>
              </a:ext>
            </a:extLst>
          </p:cNvPr>
          <p:cNvSpPr txBox="1"/>
          <p:nvPr/>
        </p:nvSpPr>
        <p:spPr>
          <a:xfrm>
            <a:off x="868642" y="987554"/>
            <a:ext cx="5666992" cy="391517"/>
          </a:xfrm>
          <a:prstGeom prst="rect">
            <a:avLst/>
          </a:prstGeom>
          <a:solidFill>
            <a:schemeClr val="bg2"/>
          </a:solidFill>
        </p:spPr>
        <p:txBody>
          <a:bodyPr wrap="square">
            <a:spAutoFit/>
          </a:bodyPr>
          <a:lstStyle/>
          <a:p>
            <a:pPr>
              <a:lnSpc>
                <a:spcPct val="90000"/>
              </a:lnSpc>
              <a:spcAft>
                <a:spcPts val="720"/>
              </a:spcAft>
            </a:pPr>
            <a:r>
              <a:rPr lang="en-US" sz="2160" b="1" dirty="0"/>
              <a:t>Cost components</a:t>
            </a:r>
            <a:endParaRPr lang="en-US" sz="2160" dirty="0"/>
          </a:p>
        </p:txBody>
      </p:sp>
    </p:spTree>
    <p:extLst>
      <p:ext uri="{BB962C8B-B14F-4D97-AF65-F5344CB8AC3E}">
        <p14:creationId xmlns:p14="http://schemas.microsoft.com/office/powerpoint/2010/main" val="3051421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665D9F18-CEB4-CA48-89A1-68DC5AD055FE}"/>
              </a:ext>
            </a:extLst>
          </p:cNvPr>
          <p:cNvGraphicFramePr>
            <a:graphicFrameLocks noGrp="1"/>
          </p:cNvGraphicFramePr>
          <p:nvPr/>
        </p:nvGraphicFramePr>
        <p:xfrm>
          <a:off x="986164" y="1263955"/>
          <a:ext cx="6000317" cy="6611475"/>
        </p:xfrm>
        <a:graphic>
          <a:graphicData uri="http://schemas.openxmlformats.org/drawingml/2006/table">
            <a:tbl>
              <a:tblPr bandRow="1"/>
              <a:tblGrid>
                <a:gridCol w="6000317">
                  <a:extLst>
                    <a:ext uri="{9D8B030D-6E8A-4147-A177-3AD203B41FA5}">
                      <a16:colId xmlns:a16="http://schemas.microsoft.com/office/drawing/2014/main" val="247834148"/>
                    </a:ext>
                  </a:extLst>
                </a:gridCol>
              </a:tblGrid>
              <a:tr h="290945">
                <a:tc>
                  <a:txBody>
                    <a:bodyPr/>
                    <a:lstStyle/>
                    <a:p>
                      <a:r>
                        <a:rPr lang="en-GB" sz="1700" dirty="0">
                          <a:effectLst/>
                          <a:latin typeface="Calibri" panose="020F0502020204030204" pitchFamily="34" charset="0"/>
                        </a:rPr>
                        <a:t>Type of service</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60492054"/>
                  </a:ext>
                </a:extLst>
              </a:tr>
              <a:tr h="290945">
                <a:tc>
                  <a:txBody>
                    <a:bodyPr/>
                    <a:lstStyle/>
                    <a:p>
                      <a:r>
                        <a:rPr lang="en-GB" sz="1700" dirty="0">
                          <a:effectLst/>
                          <a:latin typeface="Calibri" panose="020F0502020204030204" pitchFamily="34" charset="0"/>
                        </a:rPr>
                        <a:t>Target Group</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126003977"/>
                  </a:ext>
                </a:extLst>
              </a:tr>
              <a:tr h="290945">
                <a:tc>
                  <a:txBody>
                    <a:bodyPr/>
                    <a:lstStyle/>
                    <a:p>
                      <a:r>
                        <a:rPr lang="en-GB" sz="1700" dirty="0">
                          <a:effectLst/>
                          <a:latin typeface="Calibri" panose="020F0502020204030204" pitchFamily="34" charset="0"/>
                        </a:rPr>
                        <a:t>Duration</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092124401"/>
                  </a:ext>
                </a:extLst>
              </a:tr>
              <a:tr h="290945">
                <a:tc>
                  <a:txBody>
                    <a:bodyPr/>
                    <a:lstStyle/>
                    <a:p>
                      <a:r>
                        <a:rPr lang="en-GB" sz="1700" dirty="0">
                          <a:effectLst/>
                          <a:latin typeface="Calibri" panose="020F0502020204030204" pitchFamily="34" charset="0"/>
                        </a:rPr>
                        <a:t>Funding Source(s)</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677444430"/>
                  </a:ext>
                </a:extLst>
              </a:tr>
              <a:tr h="290945">
                <a:tc>
                  <a:txBody>
                    <a:bodyPr/>
                    <a:lstStyle/>
                    <a:p>
                      <a:r>
                        <a:rPr lang="en-GB" sz="1700" dirty="0">
                          <a:effectLst/>
                          <a:latin typeface="Calibri" panose="020F0502020204030204" pitchFamily="34" charset="0"/>
                        </a:rPr>
                        <a:t>Amount budgeted</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154873"/>
                  </a:ext>
                </a:extLst>
              </a:tr>
              <a:tr h="290945">
                <a:tc>
                  <a:txBody>
                    <a:bodyPr/>
                    <a:lstStyle/>
                    <a:p>
                      <a:r>
                        <a:rPr lang="en-GB" sz="1700" dirty="0">
                          <a:effectLst/>
                          <a:latin typeface="Calibri" panose="020F0502020204030204" pitchFamily="34" charset="0"/>
                        </a:rPr>
                        <a:t>Total received </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673391521"/>
                  </a:ext>
                </a:extLst>
              </a:tr>
              <a:tr h="290945">
                <a:tc>
                  <a:txBody>
                    <a:bodyPr/>
                    <a:lstStyle/>
                    <a:p>
                      <a:r>
                        <a:rPr lang="en-GB" sz="1700">
                          <a:effectLst/>
                          <a:latin typeface="Calibri" panose="020F0502020204030204" pitchFamily="34" charset="0"/>
                        </a:rPr>
                        <a:t>Total Expenditure</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022976746"/>
                  </a:ext>
                </a:extLst>
              </a:tr>
              <a:tr h="290945">
                <a:tc>
                  <a:txBody>
                    <a:bodyPr/>
                    <a:lstStyle/>
                    <a:p>
                      <a:r>
                        <a:rPr lang="en-GB" sz="1700" dirty="0">
                          <a:effectLst/>
                          <a:latin typeface="Calibri" panose="020F0502020204030204" pitchFamily="34" charset="0"/>
                        </a:rPr>
                        <a:t>Commodities and supplies</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944073625"/>
                  </a:ext>
                </a:extLst>
              </a:tr>
              <a:tr h="290945">
                <a:tc>
                  <a:txBody>
                    <a:bodyPr/>
                    <a:lstStyle/>
                    <a:p>
                      <a:r>
                        <a:rPr lang="en-GB" sz="1700">
                          <a:effectLst/>
                          <a:latin typeface="Calibri" panose="020F0502020204030204" pitchFamily="34" charset="0"/>
                        </a:rPr>
                        <a:t>Conference/Events</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324681629"/>
                  </a:ext>
                </a:extLst>
              </a:tr>
              <a:tr h="541760">
                <a:tc>
                  <a:txBody>
                    <a:bodyPr/>
                    <a:lstStyle/>
                    <a:p>
                      <a:r>
                        <a:rPr lang="en-GB" sz="1700" dirty="0">
                          <a:effectLst/>
                          <a:latin typeface="Calibri" panose="020F0502020204030204" pitchFamily="34" charset="0"/>
                        </a:rPr>
                        <a:t>Outreach, communication and information dissemination </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263843289"/>
                  </a:ext>
                </a:extLst>
              </a:tr>
              <a:tr h="290945">
                <a:tc>
                  <a:txBody>
                    <a:bodyPr/>
                    <a:lstStyle/>
                    <a:p>
                      <a:r>
                        <a:rPr lang="en-GB" sz="1700">
                          <a:effectLst/>
                          <a:latin typeface="Calibri" panose="020F0502020204030204" pitchFamily="34" charset="0"/>
                        </a:rPr>
                        <a:t>Travel expenses</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111789091"/>
                  </a:ext>
                </a:extLst>
              </a:tr>
              <a:tr h="290945">
                <a:tc>
                  <a:txBody>
                    <a:bodyPr/>
                    <a:lstStyle/>
                    <a:p>
                      <a:r>
                        <a:rPr lang="en-GB" sz="1700">
                          <a:effectLst/>
                          <a:latin typeface="Calibri" panose="020F0502020204030204" pitchFamily="34" charset="0"/>
                        </a:rPr>
                        <a:t>Salary cost related to project</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895491400"/>
                  </a:ext>
                </a:extLst>
              </a:tr>
              <a:tr h="290945">
                <a:tc>
                  <a:txBody>
                    <a:bodyPr/>
                    <a:lstStyle/>
                    <a:p>
                      <a:r>
                        <a:rPr lang="en-GB" sz="1700">
                          <a:effectLst/>
                          <a:latin typeface="Calibri" panose="020F0502020204030204" pitchFamily="34" charset="0"/>
                        </a:rPr>
                        <a:t>Training and Capacity Building</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42671026"/>
                  </a:ext>
                </a:extLst>
              </a:tr>
              <a:tr h="290945">
                <a:tc>
                  <a:txBody>
                    <a:bodyPr/>
                    <a:lstStyle/>
                    <a:p>
                      <a:r>
                        <a:rPr lang="en-GB" sz="1700">
                          <a:effectLst/>
                          <a:latin typeface="Calibri" panose="020F0502020204030204" pitchFamily="34" charset="0"/>
                        </a:rPr>
                        <a:t>Equipment/Vehicle</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481676026"/>
                  </a:ext>
                </a:extLst>
              </a:tr>
              <a:tr h="290945">
                <a:tc>
                  <a:txBody>
                    <a:bodyPr/>
                    <a:lstStyle/>
                    <a:p>
                      <a:r>
                        <a:rPr lang="en-GB" sz="1700">
                          <a:effectLst/>
                          <a:latin typeface="Calibri" panose="020F0502020204030204" pitchFamily="34" charset="0"/>
                        </a:rPr>
                        <a:t>Logistics Management</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516420060"/>
                  </a:ext>
                </a:extLst>
              </a:tr>
              <a:tr h="290945">
                <a:tc>
                  <a:txBody>
                    <a:bodyPr/>
                    <a:lstStyle/>
                    <a:p>
                      <a:r>
                        <a:rPr lang="en-GB" sz="1700">
                          <a:effectLst/>
                          <a:latin typeface="Calibri" panose="020F0502020204030204" pitchFamily="34" charset="0"/>
                        </a:rPr>
                        <a:t>Infrastructure</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813518290"/>
                  </a:ext>
                </a:extLst>
              </a:tr>
              <a:tr h="290945">
                <a:tc>
                  <a:txBody>
                    <a:bodyPr/>
                    <a:lstStyle/>
                    <a:p>
                      <a:r>
                        <a:rPr lang="en-GB" sz="1700">
                          <a:effectLst/>
                          <a:latin typeface="Calibri" panose="020F0502020204030204" pitchFamily="34" charset="0"/>
                        </a:rPr>
                        <a:t>Information systems</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734026814"/>
                  </a:ext>
                </a:extLst>
              </a:tr>
              <a:tr h="290945">
                <a:tc>
                  <a:txBody>
                    <a:bodyPr/>
                    <a:lstStyle/>
                    <a:p>
                      <a:r>
                        <a:rPr lang="en-GB" sz="1700">
                          <a:effectLst/>
                          <a:latin typeface="Calibri" panose="020F0502020204030204" pitchFamily="34" charset="0"/>
                        </a:rPr>
                        <a:t>Website Development</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728143889"/>
                  </a:ext>
                </a:extLst>
              </a:tr>
              <a:tr h="290945">
                <a:tc>
                  <a:txBody>
                    <a:bodyPr/>
                    <a:lstStyle/>
                    <a:p>
                      <a:r>
                        <a:rPr lang="en-GB" sz="1700">
                          <a:effectLst/>
                          <a:latin typeface="Calibri" panose="020F0502020204030204" pitchFamily="34" charset="0"/>
                        </a:rPr>
                        <a:t>Maintenance</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775256866"/>
                  </a:ext>
                </a:extLst>
              </a:tr>
              <a:tr h="541760">
                <a:tc>
                  <a:txBody>
                    <a:bodyPr/>
                    <a:lstStyle/>
                    <a:p>
                      <a:r>
                        <a:rPr lang="en-GB" sz="1700" dirty="0">
                          <a:effectLst/>
                          <a:latin typeface="Calibri" panose="020F0502020204030204" pitchFamily="34" charset="0"/>
                        </a:rPr>
                        <a:t>Administrative and overhead costs specifically related to the project</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389210480"/>
                  </a:ext>
                </a:extLst>
              </a:tr>
              <a:tr h="290945">
                <a:tc>
                  <a:txBody>
                    <a:bodyPr/>
                    <a:lstStyle/>
                    <a:p>
                      <a:r>
                        <a:rPr lang="en-GB" sz="1700" dirty="0">
                          <a:effectLst/>
                          <a:latin typeface="Calibri" panose="020F0502020204030204" pitchFamily="34" charset="0"/>
                        </a:rPr>
                        <a:t>Miscellaneous expenses integral to the project</a:t>
                      </a:r>
                    </a:p>
                  </a:txBody>
                  <a:tcPr marL="37180" marR="37180" marT="0" marB="0" anchor="ctr">
                    <a:lnL w="9525" cap="flat" cmpd="sng" algn="ctr">
                      <a:solidFill>
                        <a:srgbClr val="BFBFBF"/>
                      </a:solidFill>
                      <a:prstDash val="solid"/>
                      <a:round/>
                      <a:headEnd type="none" w="med" len="med"/>
                      <a:tailEnd type="none" w="med" len="med"/>
                    </a:lnL>
                    <a:lnR w="9525" cap="flat" cmpd="sng" algn="ctr">
                      <a:solidFill>
                        <a:srgbClr val="BFBFBF"/>
                      </a:solidFill>
                      <a:prstDash val="solid"/>
                      <a:round/>
                      <a:headEnd type="none" w="med" len="med"/>
                      <a:tailEnd type="none" w="med" len="med"/>
                    </a:lnR>
                    <a:lnT w="9525" cap="flat" cmpd="sng" algn="ctr">
                      <a:solidFill>
                        <a:srgbClr val="BFBFBF"/>
                      </a:solidFill>
                      <a:prstDash val="solid"/>
                      <a:round/>
                      <a:headEnd type="none" w="med" len="med"/>
                      <a:tailEnd type="none" w="med" len="med"/>
                    </a:lnT>
                    <a:lnB w="9525"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83687738"/>
                  </a:ext>
                </a:extLst>
              </a:tr>
            </a:tbl>
          </a:graphicData>
        </a:graphic>
      </p:graphicFrame>
      <p:sp>
        <p:nvSpPr>
          <p:cNvPr id="7" name="Rectangle 6">
            <a:extLst>
              <a:ext uri="{FF2B5EF4-FFF2-40B4-BE49-F238E27FC236}">
                <a16:creationId xmlns:a16="http://schemas.microsoft.com/office/drawing/2014/main" id="{22518321-E861-F649-B8DB-78B28CE079D8}"/>
              </a:ext>
            </a:extLst>
          </p:cNvPr>
          <p:cNvSpPr/>
          <p:nvPr/>
        </p:nvSpPr>
        <p:spPr>
          <a:xfrm>
            <a:off x="871881" y="663237"/>
            <a:ext cx="5234651" cy="424732"/>
          </a:xfrm>
          <a:prstGeom prst="rect">
            <a:avLst/>
          </a:prstGeom>
        </p:spPr>
        <p:txBody>
          <a:bodyPr wrap="square">
            <a:spAutoFit/>
          </a:bodyPr>
          <a:lstStyle/>
          <a:p>
            <a:r>
              <a:rPr lang="en-GB" sz="2160" dirty="0">
                <a:latin typeface="Calibri" panose="020F0502020204030204" pitchFamily="34" charset="0"/>
              </a:rPr>
              <a:t>Costing template covers the ff: </a:t>
            </a:r>
          </a:p>
        </p:txBody>
      </p:sp>
      <p:graphicFrame>
        <p:nvGraphicFramePr>
          <p:cNvPr id="10" name="TextBox 7">
            <a:extLst>
              <a:ext uri="{FF2B5EF4-FFF2-40B4-BE49-F238E27FC236}">
                <a16:creationId xmlns:a16="http://schemas.microsoft.com/office/drawing/2014/main" id="{057F3665-63B3-8AD7-897A-C7A508F8D1BD}"/>
              </a:ext>
            </a:extLst>
          </p:cNvPr>
          <p:cNvGraphicFramePr/>
          <p:nvPr/>
        </p:nvGraphicFramePr>
        <p:xfrm>
          <a:off x="8389955" y="1263956"/>
          <a:ext cx="5254282" cy="60939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1008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F3EF5726-BC8E-5549-A62B-E7E8E453B743}"/>
              </a:ext>
            </a:extLst>
          </p:cNvPr>
          <p:cNvSpPr>
            <a:spLocks noChangeArrowheads="1"/>
          </p:cNvSpPr>
          <p:nvPr/>
        </p:nvSpPr>
        <p:spPr bwMode="auto">
          <a:xfrm>
            <a:off x="1445485" y="241928"/>
            <a:ext cx="6612665" cy="200988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109728" tIns="54864" rIns="109728" bIns="54864" numCol="1" rtlCol="0" anchor="ctr" anchorCtr="0" compatLnSpc="1">
            <a:prstTxWarp prst="textNoShape">
              <a:avLst/>
            </a:prstTxWarp>
            <a:normAutofit/>
          </a:bodyPr>
          <a:lstStyle/>
          <a:p>
            <a:pPr fontAlgn="base">
              <a:lnSpc>
                <a:spcPct val="90000"/>
              </a:lnSpc>
              <a:spcBef>
                <a:spcPct val="0"/>
              </a:spcBef>
              <a:spcAft>
                <a:spcPts val="720"/>
              </a:spcAft>
            </a:pPr>
            <a:r>
              <a:rPr lang="en-US" altLang="en-GH" sz="2400" b="1" dirty="0"/>
              <a:t>Spending categories and assumptions (1)</a:t>
            </a:r>
            <a:endParaRPr lang="en-US" altLang="en-GH" sz="2400" dirty="0"/>
          </a:p>
          <a:p>
            <a:pPr indent="-274320" fontAlgn="base">
              <a:lnSpc>
                <a:spcPct val="90000"/>
              </a:lnSpc>
              <a:spcBef>
                <a:spcPct val="0"/>
              </a:spcBef>
              <a:spcAft>
                <a:spcPts val="720"/>
              </a:spcAft>
              <a:buFont typeface="Arial" panose="020B0604020202020204" pitchFamily="34" charset="0"/>
              <a:buChar char="•"/>
            </a:pPr>
            <a:endParaRPr lang="en-US" altLang="en-GH" sz="2400" dirty="0"/>
          </a:p>
        </p:txBody>
      </p:sp>
      <p:sp>
        <p:nvSpPr>
          <p:cNvPr id="2" name="Date Placeholder 1">
            <a:extLst>
              <a:ext uri="{FF2B5EF4-FFF2-40B4-BE49-F238E27FC236}">
                <a16:creationId xmlns:a16="http://schemas.microsoft.com/office/drawing/2014/main" id="{4ABCA56C-4E9D-F543-AFE7-2DEE908240AC}"/>
              </a:ext>
            </a:extLst>
          </p:cNvPr>
          <p:cNvSpPr>
            <a:spLocks noGrp="1"/>
          </p:cNvSpPr>
          <p:nvPr>
            <p:ph type="dt" sz="half" idx="10"/>
          </p:nvPr>
        </p:nvSpPr>
        <p:spPr>
          <a:xfrm>
            <a:off x="1005840" y="7627621"/>
            <a:ext cx="3291840" cy="438150"/>
          </a:xfrm>
        </p:spPr>
        <p:txBody>
          <a:bodyPr vert="horz" lIns="109728" tIns="54864" rIns="109728" bIns="54864" rtlCol="0" anchor="ctr">
            <a:normAutofit/>
          </a:bodyPr>
          <a:lstStyle/>
          <a:p>
            <a:pPr>
              <a:spcAft>
                <a:spcPts val="720"/>
              </a:spcAft>
              <a:defRPr/>
            </a:pPr>
            <a:fld id="{FFA915CC-8CD6-41FC-8E94-7DE00D48C25A}" type="datetime1">
              <a:rPr lang="en-US"/>
              <a:pPr>
                <a:spcAft>
                  <a:spcPts val="720"/>
                </a:spcAft>
                <a:defRPr/>
              </a:pPr>
              <a:t>9/6/23</a:t>
            </a:fld>
            <a:endParaRPr lang="en-US"/>
          </a:p>
        </p:txBody>
      </p:sp>
      <p:sp>
        <p:nvSpPr>
          <p:cNvPr id="3" name="Slide Number Placeholder 2">
            <a:extLst>
              <a:ext uri="{FF2B5EF4-FFF2-40B4-BE49-F238E27FC236}">
                <a16:creationId xmlns:a16="http://schemas.microsoft.com/office/drawing/2014/main" id="{9F2F9C1C-3FE3-CE45-BFF8-38CCE6FC6977}"/>
              </a:ext>
            </a:extLst>
          </p:cNvPr>
          <p:cNvSpPr>
            <a:spLocks noGrp="1"/>
          </p:cNvSpPr>
          <p:nvPr>
            <p:ph type="sldNum" sz="quarter" idx="12"/>
          </p:nvPr>
        </p:nvSpPr>
        <p:spPr>
          <a:xfrm>
            <a:off x="10332720" y="7627621"/>
            <a:ext cx="3291840" cy="438150"/>
          </a:xfrm>
        </p:spPr>
        <p:txBody>
          <a:bodyPr vert="horz" lIns="109728" tIns="54864" rIns="109728" bIns="54864" rtlCol="0" anchor="ctr">
            <a:normAutofit/>
          </a:bodyPr>
          <a:lstStyle/>
          <a:p>
            <a:pPr>
              <a:spcAft>
                <a:spcPts val="720"/>
              </a:spcAft>
              <a:defRPr/>
            </a:pPr>
            <a:fld id="{1DB6C988-4D17-4769-AFD6-9FA8E95C5F4D}" type="slidenum">
              <a:rPr lang="en-US"/>
              <a:pPr>
                <a:spcAft>
                  <a:spcPts val="720"/>
                </a:spcAft>
                <a:defRPr/>
              </a:pPr>
              <a:t>23</a:t>
            </a:fld>
            <a:endParaRPr lang="en-US"/>
          </a:p>
        </p:txBody>
      </p:sp>
      <p:graphicFrame>
        <p:nvGraphicFramePr>
          <p:cNvPr id="4" name="Table 3">
            <a:extLst>
              <a:ext uri="{FF2B5EF4-FFF2-40B4-BE49-F238E27FC236}">
                <a16:creationId xmlns:a16="http://schemas.microsoft.com/office/drawing/2014/main" id="{07C79D20-584B-B046-A1C9-53309561BABB}"/>
              </a:ext>
            </a:extLst>
          </p:cNvPr>
          <p:cNvGraphicFramePr>
            <a:graphicFrameLocks noGrp="1"/>
          </p:cNvGraphicFramePr>
          <p:nvPr/>
        </p:nvGraphicFramePr>
        <p:xfrm>
          <a:off x="1626789" y="1775160"/>
          <a:ext cx="11558126" cy="5694965"/>
        </p:xfrm>
        <a:graphic>
          <a:graphicData uri="http://schemas.openxmlformats.org/drawingml/2006/table">
            <a:tbl>
              <a:tblPr firstRow="1" bandRow="1">
                <a:noFill/>
              </a:tblPr>
              <a:tblGrid>
                <a:gridCol w="4157244">
                  <a:extLst>
                    <a:ext uri="{9D8B030D-6E8A-4147-A177-3AD203B41FA5}">
                      <a16:colId xmlns:a16="http://schemas.microsoft.com/office/drawing/2014/main" val="3608141801"/>
                    </a:ext>
                  </a:extLst>
                </a:gridCol>
                <a:gridCol w="7400882">
                  <a:extLst>
                    <a:ext uri="{9D8B030D-6E8A-4147-A177-3AD203B41FA5}">
                      <a16:colId xmlns:a16="http://schemas.microsoft.com/office/drawing/2014/main" val="3367325251"/>
                    </a:ext>
                  </a:extLst>
                </a:gridCol>
              </a:tblGrid>
              <a:tr h="800512">
                <a:tc>
                  <a:txBody>
                    <a:bodyPr/>
                    <a:lstStyle/>
                    <a:p>
                      <a:pPr algn="l" fontAlgn="t">
                        <a:spcBef>
                          <a:spcPts val="0"/>
                        </a:spcBef>
                        <a:spcAft>
                          <a:spcPts val="0"/>
                        </a:spcAft>
                      </a:pPr>
                      <a:r>
                        <a:rPr lang="en-GB" sz="2200" b="0" i="0" u="none" strike="noStrike" kern="120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Spending Category </a:t>
                      </a:r>
                      <a:endParaRPr lang="en-GB" sz="2200" b="0" i="0" u="none" strike="noStrike">
                        <a:solidFill>
                          <a:schemeClr val="tx1">
                            <a:lumMod val="75000"/>
                            <a:lumOff val="25000"/>
                          </a:schemeClr>
                        </a:solidFill>
                        <a:effectLst/>
                        <a:latin typeface="Arial" panose="020B0604020202020204" pitchFamily="34" charset="0"/>
                      </a:endParaRPr>
                    </a:p>
                  </a:txBody>
                  <a:tcPr marL="280308" marR="168185" marT="168185" marB="168185">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pPr algn="l" fontAlgn="t">
                        <a:spcBef>
                          <a:spcPts val="0"/>
                        </a:spcBef>
                        <a:spcAft>
                          <a:spcPts val="0"/>
                        </a:spcAft>
                      </a:pPr>
                      <a:r>
                        <a:rPr lang="en-GB" sz="2200" b="0" i="0" u="none" strike="noStrike" kern="1200" dirty="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 </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68185" marT="168185" marB="168185">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extLst>
                  <a:ext uri="{0D108BD9-81ED-4DB2-BD59-A6C34878D82A}">
                    <a16:rowId xmlns:a16="http://schemas.microsoft.com/office/drawing/2014/main" val="2323498665"/>
                  </a:ext>
                </a:extLst>
              </a:tr>
              <a:tr h="958945">
                <a:tc>
                  <a:txBody>
                    <a:bodyPr/>
                    <a:lstStyle/>
                    <a:p>
                      <a:pPr algn="l" fontAlgn="t">
                        <a:spcBef>
                          <a:spcPts val="0"/>
                        </a:spcBef>
                        <a:spcAft>
                          <a:spcPts val="0"/>
                        </a:spcAft>
                      </a:pPr>
                      <a:r>
                        <a:rPr lang="en-GB" sz="2200" b="0" i="0" u="none" strike="noStrike" kern="120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Commodities and supplies</a:t>
                      </a:r>
                      <a:endParaRPr lang="en-GB" sz="2200" b="0" i="0" u="none" strike="noStrike">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200" b="0" i="0" u="none" strike="noStrike" dirty="0">
                          <a:solidFill>
                            <a:schemeClr val="tx1">
                              <a:lumMod val="75000"/>
                              <a:lumOff val="25000"/>
                            </a:schemeClr>
                          </a:solidFill>
                          <a:effectLst/>
                          <a:latin typeface="Times" panose="02020603050405020304" pitchFamily="18" charset="0"/>
                          <a:ea typeface="DengXian" panose="02010600030101010101" pitchFamily="2" charset="-122"/>
                          <a:cs typeface="Times New Roman" panose="02020603050405020304" pitchFamily="18" charset="0"/>
                        </a:rPr>
                        <a:t>Costs associated with the cost of the commodities, shipping, and distribution of the supplies were considered.</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1573402555"/>
                  </a:ext>
                </a:extLst>
              </a:tr>
              <a:tr h="958945">
                <a:tc>
                  <a:txBody>
                    <a:bodyPr/>
                    <a:lstStyle/>
                    <a:p>
                      <a:pPr algn="l" fontAlgn="t">
                        <a:spcBef>
                          <a:spcPts val="0"/>
                        </a:spcBef>
                        <a:spcAft>
                          <a:spcPts val="0"/>
                        </a:spcAft>
                      </a:pPr>
                      <a:r>
                        <a:rPr lang="en-GB" sz="2200" b="0" i="0" u="none" strike="noStrike" kern="120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Conference/Events</a:t>
                      </a:r>
                      <a:endParaRPr lang="en-GB" sz="2200" b="0" i="0" u="none" strike="noStrike">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200" b="0" i="0" u="none" strike="noStrike" kern="1200" dirty="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Costs comprised of venue rentals, conference packages, per diems for participants and facilitators, and other supplies.</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975610388"/>
                  </a:ext>
                </a:extLst>
              </a:tr>
              <a:tr h="1937441">
                <a:tc>
                  <a:txBody>
                    <a:bodyPr/>
                    <a:lstStyle/>
                    <a:p>
                      <a:pPr algn="l" fontAlgn="t">
                        <a:spcBef>
                          <a:spcPts val="0"/>
                        </a:spcBef>
                        <a:spcAft>
                          <a:spcPts val="0"/>
                        </a:spcAft>
                      </a:pPr>
                      <a:r>
                        <a:rPr lang="en-GB" sz="2200" b="0" i="0" u="none" strike="noStrike" kern="120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Outreach, communication, and information dissemination </a:t>
                      </a:r>
                      <a:endParaRPr lang="en-GB" sz="2200" b="0" i="0" u="none" strike="noStrike">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200" b="0" i="0" u="none" strike="noStrike" dirty="0">
                          <a:solidFill>
                            <a:schemeClr val="tx1">
                              <a:lumMod val="75000"/>
                              <a:lumOff val="25000"/>
                            </a:schemeClr>
                          </a:solidFill>
                          <a:effectLst/>
                          <a:latin typeface="Times New Roman" panose="02020603050405020304" pitchFamily="18" charset="0"/>
                          <a:ea typeface="DengXian" panose="02010600030101010101" pitchFamily="2" charset="-122"/>
                          <a:cs typeface="Arial" panose="020B0604020202020204" pitchFamily="34" charset="0"/>
                        </a:rPr>
                        <a:t>These activities included briefing and orientation meetings for media personnel, professional groups, political and community leaders, and other stakeholders. Communications included the costs of printing communications materials such as posters, job aides, and leaflets, as well as mass media broadcast materials.</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688913289"/>
                  </a:ext>
                </a:extLst>
              </a:tr>
              <a:tr h="667093">
                <a:tc>
                  <a:txBody>
                    <a:bodyPr/>
                    <a:lstStyle/>
                    <a:p>
                      <a:pPr algn="l" fontAlgn="t">
                        <a:spcBef>
                          <a:spcPts val="0"/>
                        </a:spcBef>
                        <a:spcAft>
                          <a:spcPts val="0"/>
                        </a:spcAft>
                      </a:pPr>
                      <a:r>
                        <a:rPr lang="en-GB" sz="2200" b="0" i="0" u="none" strike="noStrike" kern="1200" dirty="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Travel expenses</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200" b="0" i="0" u="none" strike="noStrike" kern="1200" dirty="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Travel costs incurred in carrying out the interventions.</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45760" marT="145760" marB="14576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575642265"/>
                  </a:ext>
                </a:extLst>
              </a:tr>
            </a:tbl>
          </a:graphicData>
        </a:graphic>
      </p:graphicFrame>
    </p:spTree>
    <p:extLst>
      <p:ext uri="{BB962C8B-B14F-4D97-AF65-F5344CB8AC3E}">
        <p14:creationId xmlns:p14="http://schemas.microsoft.com/office/powerpoint/2010/main" val="3404442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F3EF5726-BC8E-5549-A62B-E7E8E453B743}"/>
              </a:ext>
            </a:extLst>
          </p:cNvPr>
          <p:cNvSpPr>
            <a:spLocks noChangeArrowheads="1"/>
          </p:cNvSpPr>
          <p:nvPr/>
        </p:nvSpPr>
        <p:spPr bwMode="auto">
          <a:xfrm>
            <a:off x="1445485" y="241928"/>
            <a:ext cx="6612665" cy="200988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109728" tIns="54864" rIns="109728" bIns="54864" numCol="1" rtlCol="0" anchor="ctr" anchorCtr="0" compatLnSpc="1">
            <a:prstTxWarp prst="textNoShape">
              <a:avLst/>
            </a:prstTxWarp>
            <a:normAutofit/>
          </a:bodyPr>
          <a:lstStyle/>
          <a:p>
            <a:pPr fontAlgn="base">
              <a:lnSpc>
                <a:spcPct val="90000"/>
              </a:lnSpc>
              <a:spcBef>
                <a:spcPct val="0"/>
              </a:spcBef>
              <a:spcAft>
                <a:spcPts val="720"/>
              </a:spcAft>
            </a:pPr>
            <a:r>
              <a:rPr lang="en-US" altLang="en-GH" sz="2400" b="1" dirty="0"/>
              <a:t>Spending categories and assumptions (2)</a:t>
            </a:r>
            <a:endParaRPr lang="en-US" altLang="en-GH" sz="2400" dirty="0"/>
          </a:p>
          <a:p>
            <a:pPr indent="-274320" fontAlgn="base">
              <a:lnSpc>
                <a:spcPct val="90000"/>
              </a:lnSpc>
              <a:spcBef>
                <a:spcPct val="0"/>
              </a:spcBef>
              <a:spcAft>
                <a:spcPts val="720"/>
              </a:spcAft>
              <a:buFont typeface="Arial" panose="020B0604020202020204" pitchFamily="34" charset="0"/>
              <a:buChar char="•"/>
            </a:pPr>
            <a:endParaRPr lang="en-US" altLang="en-GH" sz="2400" dirty="0"/>
          </a:p>
        </p:txBody>
      </p:sp>
      <p:sp>
        <p:nvSpPr>
          <p:cNvPr id="2" name="Date Placeholder 1">
            <a:extLst>
              <a:ext uri="{FF2B5EF4-FFF2-40B4-BE49-F238E27FC236}">
                <a16:creationId xmlns:a16="http://schemas.microsoft.com/office/drawing/2014/main" id="{4ABCA56C-4E9D-F543-AFE7-2DEE908240AC}"/>
              </a:ext>
            </a:extLst>
          </p:cNvPr>
          <p:cNvSpPr>
            <a:spLocks noGrp="1"/>
          </p:cNvSpPr>
          <p:nvPr>
            <p:ph type="dt" sz="half" idx="10"/>
          </p:nvPr>
        </p:nvSpPr>
        <p:spPr>
          <a:xfrm>
            <a:off x="1005840" y="7627621"/>
            <a:ext cx="3291840" cy="438150"/>
          </a:xfrm>
        </p:spPr>
        <p:txBody>
          <a:bodyPr vert="horz" lIns="109728" tIns="54864" rIns="109728" bIns="54864" rtlCol="0" anchor="ctr">
            <a:normAutofit/>
          </a:bodyPr>
          <a:lstStyle/>
          <a:p>
            <a:pPr>
              <a:spcAft>
                <a:spcPts val="720"/>
              </a:spcAft>
              <a:defRPr/>
            </a:pPr>
            <a:fld id="{FFA915CC-8CD6-41FC-8E94-7DE00D48C25A}" type="datetime1">
              <a:rPr lang="en-US"/>
              <a:pPr>
                <a:spcAft>
                  <a:spcPts val="720"/>
                </a:spcAft>
                <a:defRPr/>
              </a:pPr>
              <a:t>9/6/23</a:t>
            </a:fld>
            <a:endParaRPr lang="en-US"/>
          </a:p>
        </p:txBody>
      </p:sp>
      <p:sp>
        <p:nvSpPr>
          <p:cNvPr id="3" name="Slide Number Placeholder 2">
            <a:extLst>
              <a:ext uri="{FF2B5EF4-FFF2-40B4-BE49-F238E27FC236}">
                <a16:creationId xmlns:a16="http://schemas.microsoft.com/office/drawing/2014/main" id="{9F2F9C1C-3FE3-CE45-BFF8-38CCE6FC6977}"/>
              </a:ext>
            </a:extLst>
          </p:cNvPr>
          <p:cNvSpPr>
            <a:spLocks noGrp="1"/>
          </p:cNvSpPr>
          <p:nvPr>
            <p:ph type="sldNum" sz="quarter" idx="12"/>
          </p:nvPr>
        </p:nvSpPr>
        <p:spPr>
          <a:xfrm>
            <a:off x="10332720" y="7627621"/>
            <a:ext cx="3291840" cy="438150"/>
          </a:xfrm>
        </p:spPr>
        <p:txBody>
          <a:bodyPr vert="horz" lIns="109728" tIns="54864" rIns="109728" bIns="54864" rtlCol="0" anchor="ctr">
            <a:normAutofit/>
          </a:bodyPr>
          <a:lstStyle/>
          <a:p>
            <a:pPr>
              <a:spcAft>
                <a:spcPts val="720"/>
              </a:spcAft>
              <a:defRPr/>
            </a:pPr>
            <a:fld id="{1DB6C988-4D17-4769-AFD6-9FA8E95C5F4D}" type="slidenum">
              <a:rPr lang="en-US"/>
              <a:pPr>
                <a:spcAft>
                  <a:spcPts val="720"/>
                </a:spcAft>
                <a:defRPr/>
              </a:pPr>
              <a:t>24</a:t>
            </a:fld>
            <a:endParaRPr lang="en-US"/>
          </a:p>
        </p:txBody>
      </p:sp>
      <p:graphicFrame>
        <p:nvGraphicFramePr>
          <p:cNvPr id="4" name="Table 3">
            <a:extLst>
              <a:ext uri="{FF2B5EF4-FFF2-40B4-BE49-F238E27FC236}">
                <a16:creationId xmlns:a16="http://schemas.microsoft.com/office/drawing/2014/main" id="{07C79D20-584B-B046-A1C9-53309561BABB}"/>
              </a:ext>
            </a:extLst>
          </p:cNvPr>
          <p:cNvGraphicFramePr>
            <a:graphicFrameLocks noGrp="1"/>
          </p:cNvGraphicFramePr>
          <p:nvPr>
            <p:extLst>
              <p:ext uri="{D42A27DB-BD31-4B8C-83A1-F6EECF244321}">
                <p14:modId xmlns:p14="http://schemas.microsoft.com/office/powerpoint/2010/main" val="3907490004"/>
              </p:ext>
            </p:extLst>
          </p:nvPr>
        </p:nvGraphicFramePr>
        <p:xfrm>
          <a:off x="1626789" y="1775160"/>
          <a:ext cx="11558126" cy="4975433"/>
        </p:xfrm>
        <a:graphic>
          <a:graphicData uri="http://schemas.openxmlformats.org/drawingml/2006/table">
            <a:tbl>
              <a:tblPr firstRow="1" bandRow="1">
                <a:noFill/>
              </a:tblPr>
              <a:tblGrid>
                <a:gridCol w="4157244">
                  <a:extLst>
                    <a:ext uri="{9D8B030D-6E8A-4147-A177-3AD203B41FA5}">
                      <a16:colId xmlns:a16="http://schemas.microsoft.com/office/drawing/2014/main" val="3608141801"/>
                    </a:ext>
                  </a:extLst>
                </a:gridCol>
                <a:gridCol w="7400882">
                  <a:extLst>
                    <a:ext uri="{9D8B030D-6E8A-4147-A177-3AD203B41FA5}">
                      <a16:colId xmlns:a16="http://schemas.microsoft.com/office/drawing/2014/main" val="3367325251"/>
                    </a:ext>
                  </a:extLst>
                </a:gridCol>
              </a:tblGrid>
              <a:tr h="800512">
                <a:tc>
                  <a:txBody>
                    <a:bodyPr/>
                    <a:lstStyle/>
                    <a:p>
                      <a:pPr algn="l" fontAlgn="t">
                        <a:spcBef>
                          <a:spcPts val="0"/>
                        </a:spcBef>
                        <a:spcAft>
                          <a:spcPts val="0"/>
                        </a:spcAft>
                      </a:pPr>
                      <a:r>
                        <a:rPr lang="en-GB" sz="2200" b="0" i="0" u="none" strike="noStrike" kern="120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Spending Category </a:t>
                      </a:r>
                      <a:endParaRPr lang="en-GB" sz="2200" b="0" i="0" u="none" strike="noStrike">
                        <a:solidFill>
                          <a:schemeClr val="tx1">
                            <a:lumMod val="75000"/>
                            <a:lumOff val="25000"/>
                          </a:schemeClr>
                        </a:solidFill>
                        <a:effectLst/>
                        <a:latin typeface="Arial" panose="020B0604020202020204" pitchFamily="34" charset="0"/>
                      </a:endParaRPr>
                    </a:p>
                  </a:txBody>
                  <a:tcPr marL="280308" marR="168185" marT="168185" marB="168185">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pPr algn="l" fontAlgn="t">
                        <a:spcBef>
                          <a:spcPts val="0"/>
                        </a:spcBef>
                        <a:spcAft>
                          <a:spcPts val="0"/>
                        </a:spcAft>
                      </a:pPr>
                      <a:r>
                        <a:rPr lang="en-GB" sz="2200" b="0" i="0" u="none" strike="noStrike" kern="1200" dirty="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 </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68185" marT="168185" marB="168185">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extLst>
                  <a:ext uri="{0D108BD9-81ED-4DB2-BD59-A6C34878D82A}">
                    <a16:rowId xmlns:a16="http://schemas.microsoft.com/office/drawing/2014/main" val="2323498665"/>
                  </a:ext>
                </a:extLst>
              </a:tr>
              <a:tr h="958945">
                <a:tc>
                  <a:txBody>
                    <a:bodyPr/>
                    <a:lstStyle/>
                    <a:p>
                      <a:r>
                        <a:rPr lang="en-GB" sz="2000" kern="1200" dirty="0">
                          <a:effectLst/>
                        </a:rPr>
                        <a:t>Salary cost related to project</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r>
                        <a:rPr lang="en-GB" sz="2000">
                          <a:effectLst/>
                        </a:rPr>
                        <a:t>This component includes costs associated with human resources for the delivering of the interventions. </a:t>
                      </a:r>
                      <a:endParaRPr lang="en-GH" sz="200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1573402555"/>
                  </a:ext>
                </a:extLst>
              </a:tr>
              <a:tr h="1024128">
                <a:tc>
                  <a:txBody>
                    <a:bodyPr/>
                    <a:lstStyle/>
                    <a:p>
                      <a:r>
                        <a:rPr lang="en-GB" sz="2000" kern="1200" dirty="0">
                          <a:effectLst/>
                        </a:rPr>
                        <a:t>Training and Capacity Building</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r>
                        <a:rPr lang="en-GB" sz="2000" kern="1200" dirty="0">
                          <a:effectLst/>
                        </a:rPr>
                        <a:t>Trainings for staff included a range of activities by institutions delivering the services, such as refresher trainings for health workers already in the service, and planning meetings and material development workshops. </a:t>
                      </a:r>
                      <a:endParaRPr lang="en-GH" sz="2000" dirty="0">
                        <a:effectLst/>
                      </a:endParaRPr>
                    </a:p>
                    <a:p>
                      <a:r>
                        <a:rPr lang="en-GB" sz="2000" kern="1200" dirty="0">
                          <a:effectLst/>
                        </a:rPr>
                        <a:t> </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975610388"/>
                  </a:ext>
                </a:extLst>
              </a:tr>
              <a:tr h="1024883">
                <a:tc>
                  <a:txBody>
                    <a:bodyPr/>
                    <a:lstStyle/>
                    <a:p>
                      <a:r>
                        <a:rPr lang="en-GB" sz="2000" kern="1200" dirty="0">
                          <a:effectLst/>
                        </a:rPr>
                        <a:t>Equipment/Vehicle</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r>
                        <a:rPr lang="en-GB" sz="2000" kern="1200" dirty="0">
                          <a:effectLst/>
                        </a:rPr>
                        <a:t>Cost of equipment such as printers, vehicles and other equipment used for the delivery of the service.</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688913289"/>
                  </a:ext>
                </a:extLst>
              </a:tr>
              <a:tr h="667093">
                <a:tc>
                  <a:txBody>
                    <a:bodyPr/>
                    <a:lstStyle/>
                    <a:p>
                      <a:r>
                        <a:rPr lang="en-GB" sz="2000" kern="1200" dirty="0">
                          <a:effectLst/>
                        </a:rPr>
                        <a:t>Logistics Management</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r>
                        <a:rPr lang="en-US" sz="2000" kern="1200" dirty="0">
                          <a:effectLst/>
                        </a:rPr>
                        <a:t>Cost incurred for the planning, control and movement and storage of related information, goods and services from origin to destination.</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82296" marR="82296" marT="0"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575642265"/>
                  </a:ext>
                </a:extLst>
              </a:tr>
            </a:tbl>
          </a:graphicData>
        </a:graphic>
      </p:graphicFrame>
    </p:spTree>
    <p:extLst>
      <p:ext uri="{BB962C8B-B14F-4D97-AF65-F5344CB8AC3E}">
        <p14:creationId xmlns:p14="http://schemas.microsoft.com/office/powerpoint/2010/main" val="13800629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F3EF5726-BC8E-5549-A62B-E7E8E453B743}"/>
              </a:ext>
            </a:extLst>
          </p:cNvPr>
          <p:cNvSpPr>
            <a:spLocks noChangeArrowheads="1"/>
          </p:cNvSpPr>
          <p:nvPr/>
        </p:nvSpPr>
        <p:spPr bwMode="auto">
          <a:xfrm>
            <a:off x="1445485" y="241928"/>
            <a:ext cx="6612665" cy="200988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109728" tIns="54864" rIns="109728" bIns="54864" numCol="1" rtlCol="0" anchor="ctr" anchorCtr="0" compatLnSpc="1">
            <a:prstTxWarp prst="textNoShape">
              <a:avLst/>
            </a:prstTxWarp>
            <a:normAutofit/>
          </a:bodyPr>
          <a:lstStyle/>
          <a:p>
            <a:pPr fontAlgn="base">
              <a:lnSpc>
                <a:spcPct val="90000"/>
              </a:lnSpc>
              <a:spcBef>
                <a:spcPct val="0"/>
              </a:spcBef>
              <a:spcAft>
                <a:spcPts val="720"/>
              </a:spcAft>
            </a:pPr>
            <a:r>
              <a:rPr lang="en-US" altLang="en-GH" sz="2400" b="1" dirty="0"/>
              <a:t>Spending categories and assumptions (3)</a:t>
            </a:r>
            <a:endParaRPr lang="en-US" altLang="en-GH" sz="2400" dirty="0"/>
          </a:p>
          <a:p>
            <a:pPr indent="-274320" fontAlgn="base">
              <a:lnSpc>
                <a:spcPct val="90000"/>
              </a:lnSpc>
              <a:spcBef>
                <a:spcPct val="0"/>
              </a:spcBef>
              <a:spcAft>
                <a:spcPts val="720"/>
              </a:spcAft>
              <a:buFont typeface="Arial" panose="020B0604020202020204" pitchFamily="34" charset="0"/>
              <a:buChar char="•"/>
            </a:pPr>
            <a:endParaRPr lang="en-US" altLang="en-GH" sz="2400" dirty="0"/>
          </a:p>
        </p:txBody>
      </p:sp>
      <p:sp>
        <p:nvSpPr>
          <p:cNvPr id="2" name="Date Placeholder 1">
            <a:extLst>
              <a:ext uri="{FF2B5EF4-FFF2-40B4-BE49-F238E27FC236}">
                <a16:creationId xmlns:a16="http://schemas.microsoft.com/office/drawing/2014/main" id="{4ABCA56C-4E9D-F543-AFE7-2DEE908240AC}"/>
              </a:ext>
            </a:extLst>
          </p:cNvPr>
          <p:cNvSpPr>
            <a:spLocks noGrp="1"/>
          </p:cNvSpPr>
          <p:nvPr>
            <p:ph type="dt" sz="half" idx="10"/>
          </p:nvPr>
        </p:nvSpPr>
        <p:spPr>
          <a:xfrm>
            <a:off x="1005840" y="7627621"/>
            <a:ext cx="3291840" cy="438150"/>
          </a:xfrm>
        </p:spPr>
        <p:txBody>
          <a:bodyPr vert="horz" lIns="109728" tIns="54864" rIns="109728" bIns="54864" rtlCol="0" anchor="ctr">
            <a:normAutofit/>
          </a:bodyPr>
          <a:lstStyle/>
          <a:p>
            <a:pPr>
              <a:spcAft>
                <a:spcPts val="720"/>
              </a:spcAft>
              <a:defRPr/>
            </a:pPr>
            <a:fld id="{FFA915CC-8CD6-41FC-8E94-7DE00D48C25A}" type="datetime1">
              <a:rPr lang="en-US"/>
              <a:pPr>
                <a:spcAft>
                  <a:spcPts val="720"/>
                </a:spcAft>
                <a:defRPr/>
              </a:pPr>
              <a:t>9/6/23</a:t>
            </a:fld>
            <a:endParaRPr lang="en-US"/>
          </a:p>
        </p:txBody>
      </p:sp>
      <p:sp>
        <p:nvSpPr>
          <p:cNvPr id="3" name="Slide Number Placeholder 2">
            <a:extLst>
              <a:ext uri="{FF2B5EF4-FFF2-40B4-BE49-F238E27FC236}">
                <a16:creationId xmlns:a16="http://schemas.microsoft.com/office/drawing/2014/main" id="{9F2F9C1C-3FE3-CE45-BFF8-38CCE6FC6977}"/>
              </a:ext>
            </a:extLst>
          </p:cNvPr>
          <p:cNvSpPr>
            <a:spLocks noGrp="1"/>
          </p:cNvSpPr>
          <p:nvPr>
            <p:ph type="sldNum" sz="quarter" idx="12"/>
          </p:nvPr>
        </p:nvSpPr>
        <p:spPr>
          <a:xfrm>
            <a:off x="10332720" y="7627621"/>
            <a:ext cx="3291840" cy="438150"/>
          </a:xfrm>
        </p:spPr>
        <p:txBody>
          <a:bodyPr vert="horz" lIns="109728" tIns="54864" rIns="109728" bIns="54864" rtlCol="0" anchor="ctr">
            <a:normAutofit/>
          </a:bodyPr>
          <a:lstStyle/>
          <a:p>
            <a:pPr>
              <a:spcAft>
                <a:spcPts val="720"/>
              </a:spcAft>
              <a:defRPr/>
            </a:pPr>
            <a:fld id="{1DB6C988-4D17-4769-AFD6-9FA8E95C5F4D}" type="slidenum">
              <a:rPr lang="en-US"/>
              <a:pPr>
                <a:spcAft>
                  <a:spcPts val="720"/>
                </a:spcAft>
                <a:defRPr/>
              </a:pPr>
              <a:t>25</a:t>
            </a:fld>
            <a:endParaRPr lang="en-US"/>
          </a:p>
        </p:txBody>
      </p:sp>
      <p:graphicFrame>
        <p:nvGraphicFramePr>
          <p:cNvPr id="4" name="Table 3">
            <a:extLst>
              <a:ext uri="{FF2B5EF4-FFF2-40B4-BE49-F238E27FC236}">
                <a16:creationId xmlns:a16="http://schemas.microsoft.com/office/drawing/2014/main" id="{07C79D20-584B-B046-A1C9-53309561BABB}"/>
              </a:ext>
            </a:extLst>
          </p:cNvPr>
          <p:cNvGraphicFramePr>
            <a:graphicFrameLocks noGrp="1"/>
          </p:cNvGraphicFramePr>
          <p:nvPr/>
        </p:nvGraphicFramePr>
        <p:xfrm>
          <a:off x="1626789" y="1775160"/>
          <a:ext cx="11123882" cy="5568940"/>
        </p:xfrm>
        <a:graphic>
          <a:graphicData uri="http://schemas.openxmlformats.org/drawingml/2006/table">
            <a:tbl>
              <a:tblPr firstRow="1" bandRow="1">
                <a:noFill/>
              </a:tblPr>
              <a:tblGrid>
                <a:gridCol w="4001054">
                  <a:extLst>
                    <a:ext uri="{9D8B030D-6E8A-4147-A177-3AD203B41FA5}">
                      <a16:colId xmlns:a16="http://schemas.microsoft.com/office/drawing/2014/main" val="3608141801"/>
                    </a:ext>
                  </a:extLst>
                </a:gridCol>
                <a:gridCol w="7122828">
                  <a:extLst>
                    <a:ext uri="{9D8B030D-6E8A-4147-A177-3AD203B41FA5}">
                      <a16:colId xmlns:a16="http://schemas.microsoft.com/office/drawing/2014/main" val="3367325251"/>
                    </a:ext>
                  </a:extLst>
                </a:gridCol>
              </a:tblGrid>
              <a:tr h="665554">
                <a:tc>
                  <a:txBody>
                    <a:bodyPr/>
                    <a:lstStyle/>
                    <a:p>
                      <a:pPr algn="l" fontAlgn="t">
                        <a:spcBef>
                          <a:spcPts val="0"/>
                        </a:spcBef>
                        <a:spcAft>
                          <a:spcPts val="0"/>
                        </a:spcAft>
                      </a:pPr>
                      <a:r>
                        <a:rPr lang="en-GB" sz="2200" b="0" i="0" u="none" strike="noStrike" kern="120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Spending Category </a:t>
                      </a:r>
                      <a:endParaRPr lang="en-GB" sz="2200" b="0" i="0" u="none" strike="noStrike">
                        <a:solidFill>
                          <a:schemeClr val="tx1">
                            <a:lumMod val="75000"/>
                            <a:lumOff val="25000"/>
                          </a:schemeClr>
                        </a:solidFill>
                        <a:effectLst/>
                        <a:latin typeface="Arial" panose="020B0604020202020204" pitchFamily="34" charset="0"/>
                      </a:endParaRPr>
                    </a:p>
                  </a:txBody>
                  <a:tcPr marL="280308" marR="168185" marT="168185" marB="168185">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tc>
                  <a:txBody>
                    <a:bodyPr/>
                    <a:lstStyle/>
                    <a:p>
                      <a:pPr algn="l" fontAlgn="t">
                        <a:spcBef>
                          <a:spcPts val="0"/>
                        </a:spcBef>
                        <a:spcAft>
                          <a:spcPts val="0"/>
                        </a:spcAft>
                      </a:pPr>
                      <a:r>
                        <a:rPr lang="en-GB" sz="2200" b="0" i="0" u="none" strike="noStrike" kern="1200" dirty="0">
                          <a:solidFill>
                            <a:schemeClr val="tx1">
                              <a:lumMod val="75000"/>
                              <a:lumOff val="25000"/>
                            </a:schemeClr>
                          </a:solidFill>
                          <a:effectLst/>
                          <a:latin typeface="Times" panose="02020603050405020304" pitchFamily="18" charset="0"/>
                          <a:ea typeface="Times New Roman" panose="02020603050405020304" pitchFamily="18" charset="0"/>
                          <a:cs typeface="Calibri" panose="020F0502020204030204" pitchFamily="34" charset="0"/>
                        </a:rPr>
                        <a:t> </a:t>
                      </a:r>
                      <a:endParaRPr lang="en-GB" sz="2200" b="0" i="0" u="none" strike="noStrike" dirty="0">
                        <a:solidFill>
                          <a:schemeClr val="tx1">
                            <a:lumMod val="75000"/>
                            <a:lumOff val="25000"/>
                          </a:schemeClr>
                        </a:solidFill>
                        <a:effectLst/>
                        <a:latin typeface="Arial" panose="020B0604020202020204" pitchFamily="34" charset="0"/>
                      </a:endParaRPr>
                    </a:p>
                  </a:txBody>
                  <a:tcPr marL="280308" marR="168185" marT="168185" marB="168185">
                    <a:lnL w="12700" cmpd="sng">
                      <a:noFill/>
                      <a:prstDash val="solid"/>
                    </a:lnL>
                    <a:lnR w="12700" cmpd="sng">
                      <a:noFill/>
                      <a:prstDash val="solid"/>
                    </a:lnR>
                    <a:lnT w="19050" cap="flat" cmpd="sng" algn="ctr">
                      <a:solidFill>
                        <a:srgbClr val="8F9A9D">
                          <a:alpha val="60000"/>
                        </a:srgbClr>
                      </a:solidFill>
                      <a:prstDash val="solid"/>
                    </a:lnT>
                    <a:lnB w="12700" cmpd="sng">
                      <a:noFill/>
                      <a:prstDash val="solid"/>
                    </a:lnB>
                    <a:noFill/>
                  </a:tcPr>
                </a:tc>
                <a:extLst>
                  <a:ext uri="{0D108BD9-81ED-4DB2-BD59-A6C34878D82A}">
                    <a16:rowId xmlns:a16="http://schemas.microsoft.com/office/drawing/2014/main" val="2323498665"/>
                  </a:ext>
                </a:extLst>
              </a:tr>
              <a:tr h="778667">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Infrastructure</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300" b="0" i="0" u="none" strike="noStrike" kern="120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Consists of both construction costs and any related land or property acquisition costs.</a:t>
                      </a:r>
                      <a:endParaRPr lang="en-GB" sz="3400" b="0" i="0" u="none" strike="noStrike">
                        <a:effectLst/>
                        <a:latin typeface="Arial" panose="020B0604020202020204" pitchFamily="34" charset="0"/>
                      </a:endParaRPr>
                    </a:p>
                  </a:txBody>
                  <a:tcPr marL="129859" marR="129859" marT="18036" marB="0">
                    <a:lnL w="12700" cmpd="sng">
                      <a:noFill/>
                      <a:prstDash val="solid"/>
                    </a:lnL>
                    <a:lnR w="12700" cmpd="sng">
                      <a:noFill/>
                      <a:prstDash val="solid"/>
                    </a:lnR>
                    <a:lnT w="12700" cmpd="sng">
                      <a:no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1573402555"/>
                  </a:ext>
                </a:extLst>
              </a:tr>
              <a:tr h="778667">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Information systems</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300" b="0" i="0" u="none" strike="noStrike" kern="120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Cost of information system support</a:t>
                      </a:r>
                      <a:endParaRPr lang="en-GB" sz="3400" b="0" i="0" u="none" strike="noStrike">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975610388"/>
                  </a:ext>
                </a:extLst>
              </a:tr>
              <a:tr h="832208">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Website Development</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300" b="0" i="0" u="none" strike="noStrike" kern="120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Cost of related cost associated with the development of a web site.</a:t>
                      </a:r>
                      <a:endParaRPr lang="en-GB" sz="3400" b="0" i="0" u="none" strike="noStrike">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688913289"/>
                  </a:ext>
                </a:extLst>
              </a:tr>
              <a:tr h="712980">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Maintenance</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algn="l" fontAlgn="t">
                        <a:spcBef>
                          <a:spcPts val="0"/>
                        </a:spcBef>
                        <a:spcAft>
                          <a:spcPts val="0"/>
                        </a:spcAft>
                      </a:pPr>
                      <a:r>
                        <a:rPr lang="en-US"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Maintenance costs related to maintaining company facilities, property, vehicles or equipment</a:t>
                      </a:r>
                      <a:endParaRPr lang="en-US"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round/>
                      <a:headEnd type="none" w="med" len="med"/>
                      <a:tailEnd type="none" w="med" len="med"/>
                    </a:lnB>
                    <a:solidFill>
                      <a:srgbClr val="B4BCBE">
                        <a:alpha val="34902"/>
                      </a:srgbClr>
                    </a:solidFill>
                  </a:tcPr>
                </a:tc>
                <a:extLst>
                  <a:ext uri="{0D108BD9-81ED-4DB2-BD59-A6C34878D82A}">
                    <a16:rowId xmlns:a16="http://schemas.microsoft.com/office/drawing/2014/main" val="2575642265"/>
                  </a:ext>
                </a:extLst>
              </a:tr>
              <a:tr h="1060452">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Administrative and overhead costs specifically related to the project</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round/>
                      <a:headEnd type="none" w="med" len="med"/>
                      <a:tailEnd type="none" w="med" len="med"/>
                    </a:lnB>
                    <a:solidFill>
                      <a:srgbClr val="B4BCBE">
                        <a:alpha val="34902"/>
                      </a:srgbClr>
                    </a:solidFill>
                  </a:tcPr>
                </a:tc>
                <a:tc>
                  <a:txBody>
                    <a:bodyPr/>
                    <a:lstStyle/>
                    <a:p>
                      <a:pPr algn="l" fontAlgn="t">
                        <a:spcBef>
                          <a:spcPts val="0"/>
                        </a:spcBef>
                        <a:spcAft>
                          <a:spcPts val="0"/>
                        </a:spcAft>
                      </a:pPr>
                      <a:r>
                        <a:rPr lang="en-US"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Salaries and bonuses of personnel performing staff functions, professional fees, office supplies, etc.</a:t>
                      </a:r>
                      <a:endParaRPr lang="en-US"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round/>
                      <a:headEnd type="none" w="med" len="med"/>
                      <a:tailEnd type="none" w="med" len="med"/>
                    </a:lnB>
                    <a:solidFill>
                      <a:srgbClr val="B4BCBE">
                        <a:alpha val="34902"/>
                      </a:srgbClr>
                    </a:solidFill>
                  </a:tcPr>
                </a:tc>
                <a:extLst>
                  <a:ext uri="{0D108BD9-81ED-4DB2-BD59-A6C34878D82A}">
                    <a16:rowId xmlns:a16="http://schemas.microsoft.com/office/drawing/2014/main" val="3363408679"/>
                  </a:ext>
                </a:extLst>
              </a:tr>
              <a:tr h="712980">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Miscellaneous expenses integral to the project</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tc>
                  <a:txBody>
                    <a:bodyPr/>
                    <a:lstStyle/>
                    <a:p>
                      <a:pPr algn="l" fontAlgn="t">
                        <a:spcBef>
                          <a:spcPts val="0"/>
                        </a:spcBef>
                        <a:spcAft>
                          <a:spcPts val="0"/>
                        </a:spcAft>
                      </a:pPr>
                      <a:r>
                        <a:rPr lang="en-GB" sz="2300" b="0" i="0" u="none" strike="noStrike" kern="1200" dirty="0">
                          <a:solidFill>
                            <a:srgbClr val="000000"/>
                          </a:solidFill>
                          <a:effectLst/>
                          <a:latin typeface="Times" panose="02020603050405020304" pitchFamily="18" charset="0"/>
                          <a:ea typeface="Times New Roman" panose="02020603050405020304" pitchFamily="18" charset="0"/>
                          <a:cs typeface="Calibri" panose="020F0502020204030204" pitchFamily="34" charset="0"/>
                        </a:rPr>
                        <a:t> </a:t>
                      </a:r>
                      <a:endParaRPr lang="en-GB" sz="3400" b="0" i="0" u="none" strike="noStrike" dirty="0">
                        <a:effectLst/>
                        <a:latin typeface="Arial" panose="020B0604020202020204" pitchFamily="34" charset="0"/>
                      </a:endParaRPr>
                    </a:p>
                  </a:txBody>
                  <a:tcPr marL="129859" marR="129859" marT="18036" marB="0">
                    <a:lnL w="12700" cmpd="sng">
                      <a:noFill/>
                      <a:prstDash val="solid"/>
                    </a:lnL>
                    <a:lnR w="12700" cmpd="sng">
                      <a:noFill/>
                      <a:prstDash val="solid"/>
                    </a:lnR>
                    <a:lnT w="19050" cap="flat" cmpd="sng" algn="ctr">
                      <a:solidFill>
                        <a:srgbClr val="FFFFFF"/>
                      </a:solidFill>
                      <a:prstDash val="solid"/>
                    </a:lnT>
                    <a:lnB w="19050" cap="flat" cmpd="sng" algn="ctr">
                      <a:solidFill>
                        <a:srgbClr val="FFFFFF"/>
                      </a:solidFill>
                      <a:prstDash val="solid"/>
                    </a:lnB>
                    <a:solidFill>
                      <a:srgbClr val="B4BCBE">
                        <a:alpha val="34902"/>
                      </a:srgbClr>
                    </a:solidFill>
                  </a:tcPr>
                </a:tc>
                <a:extLst>
                  <a:ext uri="{0D108BD9-81ED-4DB2-BD59-A6C34878D82A}">
                    <a16:rowId xmlns:a16="http://schemas.microsoft.com/office/drawing/2014/main" val="2694450150"/>
                  </a:ext>
                </a:extLst>
              </a:tr>
            </a:tbl>
          </a:graphicData>
        </a:graphic>
      </p:graphicFrame>
    </p:spTree>
    <p:extLst>
      <p:ext uri="{BB962C8B-B14F-4D97-AF65-F5344CB8AC3E}">
        <p14:creationId xmlns:p14="http://schemas.microsoft.com/office/powerpoint/2010/main" val="21655795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232786-0EC1-304D-8562-78FBF45D4BD7}"/>
              </a:ext>
            </a:extLst>
          </p:cNvPr>
          <p:cNvSpPr>
            <a:spLocks noGrp="1"/>
          </p:cNvSpPr>
          <p:nvPr>
            <p:ph type="dt" sz="half" idx="10"/>
          </p:nvPr>
        </p:nvSpPr>
        <p:spPr/>
        <p:txBody>
          <a:bodyPr/>
          <a:lstStyle/>
          <a:p>
            <a:pPr defTabSz="1097280">
              <a:defRPr/>
            </a:pPr>
            <a:fld id="{FFA915CC-8CD6-41FC-8E94-7DE00D48C25A}"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3" name="Slide Number Placeholder 2">
            <a:extLst>
              <a:ext uri="{FF2B5EF4-FFF2-40B4-BE49-F238E27FC236}">
                <a16:creationId xmlns:a16="http://schemas.microsoft.com/office/drawing/2014/main" id="{D2E72E93-120B-0A4F-BD0F-08E6F8E77575}"/>
              </a:ext>
            </a:extLst>
          </p:cNvPr>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26</a:t>
            </a:fld>
            <a:endParaRPr lang="en-US" sz="1440">
              <a:solidFill>
                <a:prstClr val="black">
                  <a:tint val="75000"/>
                </a:prstClr>
              </a:solidFill>
              <a:latin typeface="Arial" panose="020B0604020202020204"/>
            </a:endParaRPr>
          </a:p>
        </p:txBody>
      </p:sp>
      <p:sp>
        <p:nvSpPr>
          <p:cNvPr id="5" name="TextBox 4">
            <a:extLst>
              <a:ext uri="{FF2B5EF4-FFF2-40B4-BE49-F238E27FC236}">
                <a16:creationId xmlns:a16="http://schemas.microsoft.com/office/drawing/2014/main" id="{16EAB45D-7CC0-5240-95BB-41B05F1B86BF}"/>
              </a:ext>
            </a:extLst>
          </p:cNvPr>
          <p:cNvSpPr txBox="1"/>
          <p:nvPr/>
        </p:nvSpPr>
        <p:spPr>
          <a:xfrm>
            <a:off x="2882096" y="3493873"/>
            <a:ext cx="7319830" cy="830997"/>
          </a:xfrm>
          <a:prstGeom prst="rect">
            <a:avLst/>
          </a:prstGeom>
          <a:noFill/>
        </p:spPr>
        <p:txBody>
          <a:bodyPr wrap="square">
            <a:spAutoFit/>
          </a:bodyPr>
          <a:lstStyle/>
          <a:p>
            <a:pPr algn="ctr"/>
            <a:r>
              <a:rPr lang="en-US" sz="4800" b="1" dirty="0">
                <a:latin typeface="Times New Roman" panose="02020603050405020304" pitchFamily="18" charset="0"/>
                <a:ea typeface="DengXian" panose="02010600030101010101" pitchFamily="2" charset="-122"/>
                <a:cs typeface="Arial" panose="020B0604020202020204" pitchFamily="34" charset="0"/>
              </a:rPr>
              <a:t>Results - Ghana</a:t>
            </a:r>
            <a:endParaRPr lang="en-GH" sz="4800" dirty="0">
              <a:latin typeface="Calibri" panose="020F0502020204030204" pitchFamily="34" charset="0"/>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6301093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B922756F-9BF6-2246-A8D0-97FB2D5F58A9}"/>
              </a:ext>
            </a:extLst>
          </p:cNvPr>
          <p:cNvSpPr>
            <a:spLocks noChangeArrowheads="1"/>
          </p:cNvSpPr>
          <p:nvPr/>
        </p:nvSpPr>
        <p:spPr bwMode="auto">
          <a:xfrm>
            <a:off x="1209822" y="335525"/>
            <a:ext cx="12210756" cy="92148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109728" tIns="54864" rIns="109728" bIns="54864" numCol="1" rtlCol="0" anchor="ctr" anchorCtr="0" compatLnSpc="1">
            <a:prstTxWarp prst="textNoShape">
              <a:avLst/>
            </a:prstTxWarp>
            <a:normAutofit/>
          </a:bodyPr>
          <a:lstStyle/>
          <a:p>
            <a:pPr algn="ctr" fontAlgn="base">
              <a:lnSpc>
                <a:spcPct val="90000"/>
              </a:lnSpc>
              <a:spcBef>
                <a:spcPct val="0"/>
              </a:spcBef>
              <a:spcAft>
                <a:spcPts val="720"/>
              </a:spcAft>
            </a:pPr>
            <a:r>
              <a:rPr lang="en-US" altLang="en-GH" sz="2400" b="1" dirty="0"/>
              <a:t> Total costs (for 7 years) and cost share estimates (USD)</a:t>
            </a:r>
            <a:endParaRPr lang="en-US" altLang="en-GH" sz="2400" dirty="0"/>
          </a:p>
          <a:p>
            <a:pPr indent="-274320" algn="ctr" fontAlgn="base">
              <a:lnSpc>
                <a:spcPct val="90000"/>
              </a:lnSpc>
              <a:spcBef>
                <a:spcPct val="0"/>
              </a:spcBef>
              <a:spcAft>
                <a:spcPts val="720"/>
              </a:spcAft>
              <a:buFont typeface="Arial" panose="020B0604020202020204" pitchFamily="34" charset="0"/>
              <a:buChar char="•"/>
            </a:pPr>
            <a:endParaRPr lang="en-US" altLang="en-GH" sz="2400" dirty="0"/>
          </a:p>
        </p:txBody>
      </p:sp>
      <p:sp>
        <p:nvSpPr>
          <p:cNvPr id="2" name="Date Placeholder 1">
            <a:extLst>
              <a:ext uri="{FF2B5EF4-FFF2-40B4-BE49-F238E27FC236}">
                <a16:creationId xmlns:a16="http://schemas.microsoft.com/office/drawing/2014/main" id="{D3B71DFD-F3F5-7A47-A871-2F8DA664E40F}"/>
              </a:ext>
            </a:extLst>
          </p:cNvPr>
          <p:cNvSpPr>
            <a:spLocks noGrp="1"/>
          </p:cNvSpPr>
          <p:nvPr>
            <p:ph type="dt" sz="half" idx="10"/>
          </p:nvPr>
        </p:nvSpPr>
        <p:spPr>
          <a:xfrm>
            <a:off x="1005840" y="7627621"/>
            <a:ext cx="3291840" cy="438150"/>
          </a:xfrm>
        </p:spPr>
        <p:txBody>
          <a:bodyPr vert="horz" lIns="109728" tIns="54864" rIns="109728" bIns="54864" rtlCol="0" anchor="ctr">
            <a:normAutofit/>
          </a:bodyPr>
          <a:lstStyle/>
          <a:p>
            <a:pPr>
              <a:spcAft>
                <a:spcPts val="720"/>
              </a:spcAft>
              <a:defRPr/>
            </a:pPr>
            <a:fld id="{FFA915CC-8CD6-41FC-8E94-7DE00D48C25A}" type="datetime1">
              <a:rPr lang="en-US"/>
              <a:pPr>
                <a:spcAft>
                  <a:spcPts val="720"/>
                </a:spcAft>
                <a:defRPr/>
              </a:pPr>
              <a:t>9/6/23</a:t>
            </a:fld>
            <a:endParaRPr lang="en-US"/>
          </a:p>
        </p:txBody>
      </p:sp>
      <p:sp>
        <p:nvSpPr>
          <p:cNvPr id="3" name="Slide Number Placeholder 2">
            <a:extLst>
              <a:ext uri="{FF2B5EF4-FFF2-40B4-BE49-F238E27FC236}">
                <a16:creationId xmlns:a16="http://schemas.microsoft.com/office/drawing/2014/main" id="{9B9B6C80-45E0-3A4F-972D-34351F4ADDED}"/>
              </a:ext>
            </a:extLst>
          </p:cNvPr>
          <p:cNvSpPr>
            <a:spLocks noGrp="1"/>
          </p:cNvSpPr>
          <p:nvPr>
            <p:ph type="sldNum" sz="quarter" idx="12"/>
          </p:nvPr>
        </p:nvSpPr>
        <p:spPr>
          <a:xfrm>
            <a:off x="10332720" y="7627621"/>
            <a:ext cx="3291840" cy="438150"/>
          </a:xfrm>
        </p:spPr>
        <p:txBody>
          <a:bodyPr vert="horz" lIns="109728" tIns="54864" rIns="109728" bIns="54864" rtlCol="0" anchor="ctr">
            <a:normAutofit/>
          </a:bodyPr>
          <a:lstStyle/>
          <a:p>
            <a:pPr>
              <a:spcAft>
                <a:spcPts val="720"/>
              </a:spcAft>
              <a:defRPr/>
            </a:pPr>
            <a:fld id="{1DB6C988-4D17-4769-AFD6-9FA8E95C5F4D}" type="slidenum">
              <a:rPr lang="en-US"/>
              <a:pPr>
                <a:spcAft>
                  <a:spcPts val="720"/>
                </a:spcAft>
                <a:defRPr/>
              </a:pPr>
              <a:t>27</a:t>
            </a:fld>
            <a:endParaRPr lang="en-US"/>
          </a:p>
        </p:txBody>
      </p:sp>
      <p:graphicFrame>
        <p:nvGraphicFramePr>
          <p:cNvPr id="4" name="Table 3">
            <a:extLst>
              <a:ext uri="{FF2B5EF4-FFF2-40B4-BE49-F238E27FC236}">
                <a16:creationId xmlns:a16="http://schemas.microsoft.com/office/drawing/2014/main" id="{6395A153-FE39-384B-BEB3-B2ED3CB6170D}"/>
              </a:ext>
            </a:extLst>
          </p:cNvPr>
          <p:cNvGraphicFramePr>
            <a:graphicFrameLocks noGrp="1"/>
          </p:cNvGraphicFramePr>
          <p:nvPr>
            <p:extLst>
              <p:ext uri="{D42A27DB-BD31-4B8C-83A1-F6EECF244321}">
                <p14:modId xmlns:p14="http://schemas.microsoft.com/office/powerpoint/2010/main" val="138012517"/>
              </p:ext>
            </p:extLst>
          </p:nvPr>
        </p:nvGraphicFramePr>
        <p:xfrm>
          <a:off x="1439333" y="1257011"/>
          <a:ext cx="11981244" cy="6370608"/>
        </p:xfrm>
        <a:graphic>
          <a:graphicData uri="http://schemas.openxmlformats.org/drawingml/2006/table">
            <a:tbl>
              <a:tblPr firstRow="1" firstCol="1" bandRow="1">
                <a:tableStyleId>{3B4B98B0-60AC-42C2-AFA5-B58CD77FA1E5}</a:tableStyleId>
              </a:tblPr>
              <a:tblGrid>
                <a:gridCol w="2691873">
                  <a:extLst>
                    <a:ext uri="{9D8B030D-6E8A-4147-A177-3AD203B41FA5}">
                      <a16:colId xmlns:a16="http://schemas.microsoft.com/office/drawing/2014/main" val="3776446466"/>
                    </a:ext>
                  </a:extLst>
                </a:gridCol>
                <a:gridCol w="1348551">
                  <a:extLst>
                    <a:ext uri="{9D8B030D-6E8A-4147-A177-3AD203B41FA5}">
                      <a16:colId xmlns:a16="http://schemas.microsoft.com/office/drawing/2014/main" val="115085002"/>
                    </a:ext>
                  </a:extLst>
                </a:gridCol>
                <a:gridCol w="1334912">
                  <a:extLst>
                    <a:ext uri="{9D8B030D-6E8A-4147-A177-3AD203B41FA5}">
                      <a16:colId xmlns:a16="http://schemas.microsoft.com/office/drawing/2014/main" val="3824820055"/>
                    </a:ext>
                  </a:extLst>
                </a:gridCol>
                <a:gridCol w="1155926">
                  <a:extLst>
                    <a:ext uri="{9D8B030D-6E8A-4147-A177-3AD203B41FA5}">
                      <a16:colId xmlns:a16="http://schemas.microsoft.com/office/drawing/2014/main" val="2585787126"/>
                    </a:ext>
                  </a:extLst>
                </a:gridCol>
                <a:gridCol w="1334912">
                  <a:extLst>
                    <a:ext uri="{9D8B030D-6E8A-4147-A177-3AD203B41FA5}">
                      <a16:colId xmlns:a16="http://schemas.microsoft.com/office/drawing/2014/main" val="4107947587"/>
                    </a:ext>
                  </a:extLst>
                </a:gridCol>
                <a:gridCol w="1334912">
                  <a:extLst>
                    <a:ext uri="{9D8B030D-6E8A-4147-A177-3AD203B41FA5}">
                      <a16:colId xmlns:a16="http://schemas.microsoft.com/office/drawing/2014/main" val="1741512192"/>
                    </a:ext>
                  </a:extLst>
                </a:gridCol>
                <a:gridCol w="1445246">
                  <a:extLst>
                    <a:ext uri="{9D8B030D-6E8A-4147-A177-3AD203B41FA5}">
                      <a16:colId xmlns:a16="http://schemas.microsoft.com/office/drawing/2014/main" val="1464087279"/>
                    </a:ext>
                  </a:extLst>
                </a:gridCol>
                <a:gridCol w="1334912">
                  <a:extLst>
                    <a:ext uri="{9D8B030D-6E8A-4147-A177-3AD203B41FA5}">
                      <a16:colId xmlns:a16="http://schemas.microsoft.com/office/drawing/2014/main" val="1652529238"/>
                    </a:ext>
                  </a:extLst>
                </a:gridCol>
              </a:tblGrid>
              <a:tr h="418871">
                <a:tc>
                  <a:txBody>
                    <a:bodyPr/>
                    <a:lstStyle/>
                    <a:p>
                      <a:r>
                        <a:rPr lang="en-US" sz="1700">
                          <a:effectLst/>
                        </a:rPr>
                        <a:t>Name of Intervention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2015</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16</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17</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18</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19</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20</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21</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extLst>
                  <a:ext uri="{0D108BD9-81ED-4DB2-BD59-A6C34878D82A}">
                    <a16:rowId xmlns:a16="http://schemas.microsoft.com/office/drawing/2014/main" val="2284406491"/>
                  </a:ext>
                </a:extLst>
              </a:tr>
              <a:tr h="418871">
                <a:tc>
                  <a:txBody>
                    <a:bodyPr/>
                    <a:lstStyle/>
                    <a:p>
                      <a:r>
                        <a:rPr lang="en-US" sz="1700" b="0" dirty="0">
                          <a:effectLst/>
                        </a:rPr>
                        <a:t>Adolescent Clubs</a:t>
                      </a:r>
                      <a:endParaRPr lang="en-GH" sz="1800" b="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extLst>
                  <a:ext uri="{0D108BD9-81ED-4DB2-BD59-A6C34878D82A}">
                    <a16:rowId xmlns:a16="http://schemas.microsoft.com/office/drawing/2014/main" val="1108356721"/>
                  </a:ext>
                </a:extLst>
              </a:tr>
              <a:tr h="1450423">
                <a:tc>
                  <a:txBody>
                    <a:bodyPr/>
                    <a:lstStyle/>
                    <a:p>
                      <a:r>
                        <a:rPr lang="en-US" sz="1700" b="0" dirty="0">
                          <a:effectLst/>
                        </a:rPr>
                        <a:t>Empowering Adolescent Girls through Comprehensive Sexuality Education </a:t>
                      </a:r>
                      <a:endParaRPr lang="en-GH" sz="1800" b="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51,409</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565,184</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4,697,540</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8,158,539</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345,519</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extLst>
                  <a:ext uri="{0D108BD9-81ED-4DB2-BD59-A6C34878D82A}">
                    <a16:rowId xmlns:a16="http://schemas.microsoft.com/office/drawing/2014/main" val="954925763"/>
                  </a:ext>
                </a:extLst>
              </a:tr>
              <a:tr h="2138124">
                <a:tc>
                  <a:txBody>
                    <a:bodyPr/>
                    <a:lstStyle/>
                    <a:p>
                      <a:r>
                        <a:rPr lang="en-US" sz="1700" b="0" dirty="0">
                          <a:effectLst/>
                        </a:rPr>
                        <a:t>Strengthened national capacity in delivering high-quality integrated family planning and comprehensive maternal health services</a:t>
                      </a:r>
                      <a:endParaRPr lang="en-GH" sz="1800" b="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8,333,956</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1,966,561</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202,981</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4,121,682</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4,809,827</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4,624,050</a:t>
                      </a:r>
                      <a:endParaRPr lang="en-GH" sz="1800" dirty="0">
                        <a:effectLst/>
                      </a:endParaRPr>
                    </a:p>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4,802,230</a:t>
                      </a:r>
                      <a:endParaRPr lang="en-GH" sz="1800">
                        <a:effectLst/>
                      </a:endParaRPr>
                    </a:p>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extLst>
                  <a:ext uri="{0D108BD9-81ED-4DB2-BD59-A6C34878D82A}">
                    <a16:rowId xmlns:a16="http://schemas.microsoft.com/office/drawing/2014/main" val="247903380"/>
                  </a:ext>
                </a:extLst>
              </a:tr>
              <a:tr h="762724">
                <a:tc>
                  <a:txBody>
                    <a:bodyPr/>
                    <a:lstStyle/>
                    <a:p>
                      <a:r>
                        <a:rPr lang="en-US" sz="1700" b="0" dirty="0">
                          <a:effectLst/>
                        </a:rPr>
                        <a:t>E-Health (Digital platforms) </a:t>
                      </a:r>
                      <a:endParaRPr lang="en-GH" sz="1800" b="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627,050</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extLst>
                  <a:ext uri="{0D108BD9-81ED-4DB2-BD59-A6C34878D82A}">
                    <a16:rowId xmlns:a16="http://schemas.microsoft.com/office/drawing/2014/main" val="778949266"/>
                  </a:ext>
                </a:extLst>
              </a:tr>
              <a:tr h="762724">
                <a:tc>
                  <a:txBody>
                    <a:bodyPr/>
                    <a:lstStyle/>
                    <a:p>
                      <a:r>
                        <a:rPr lang="en-US" sz="1700" b="0" dirty="0">
                          <a:effectLst/>
                        </a:rPr>
                        <a:t>Safety Net Program</a:t>
                      </a:r>
                      <a:endParaRPr lang="en-GH" sz="1800" b="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a:effectLst/>
                        </a:rPr>
                        <a:t> </a:t>
                      </a:r>
                      <a:endParaRPr lang="en-GH" sz="180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1700" dirty="0">
                          <a:effectLst/>
                        </a:rPr>
                        <a:t>2,802,230</a:t>
                      </a:r>
                      <a:endParaRPr lang="en-GH" sz="1800" dirty="0">
                        <a:effectLst/>
                      </a:endParaRPr>
                    </a:p>
                    <a:p>
                      <a:r>
                        <a:rPr lang="en-US" sz="1700" dirty="0">
                          <a:effectLst/>
                        </a:rPr>
                        <a:t> </a:t>
                      </a:r>
                      <a:endParaRPr lang="en-GH" sz="18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extLst>
                  <a:ext uri="{0D108BD9-81ED-4DB2-BD59-A6C34878D82A}">
                    <a16:rowId xmlns:a16="http://schemas.microsoft.com/office/drawing/2014/main" val="1155766151"/>
                  </a:ext>
                </a:extLst>
              </a:tr>
              <a:tr h="418871">
                <a:tc>
                  <a:txBody>
                    <a:bodyPr/>
                    <a:lstStyle/>
                    <a:p>
                      <a:r>
                        <a:rPr lang="en-US" sz="2000" dirty="0">
                          <a:effectLst/>
                        </a:rPr>
                        <a:t>Total</a:t>
                      </a:r>
                      <a:endParaRPr lang="en-GH" sz="2000"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tc>
                <a:tc>
                  <a:txBody>
                    <a:bodyPr/>
                    <a:lstStyle/>
                    <a:p>
                      <a:r>
                        <a:rPr lang="en-US" sz="2000" b="1" dirty="0">
                          <a:effectLst/>
                        </a:rPr>
                        <a:t>8,333,956</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tc>
                  <a:txBody>
                    <a:bodyPr/>
                    <a:lstStyle/>
                    <a:p>
                      <a:r>
                        <a:rPr lang="en-US" sz="2000" b="1" dirty="0">
                          <a:effectLst/>
                        </a:rPr>
                        <a:t>1,966,561</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tc>
                  <a:txBody>
                    <a:bodyPr/>
                    <a:lstStyle/>
                    <a:p>
                      <a:r>
                        <a:rPr lang="en-US" sz="2000" b="1" dirty="0">
                          <a:effectLst/>
                        </a:rPr>
                        <a:t>254,390</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tc>
                  <a:txBody>
                    <a:bodyPr/>
                    <a:lstStyle/>
                    <a:p>
                      <a:r>
                        <a:rPr lang="en-US" sz="2000" b="1" dirty="0">
                          <a:effectLst/>
                        </a:rPr>
                        <a:t>4,686,866</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tc>
                  <a:txBody>
                    <a:bodyPr/>
                    <a:lstStyle/>
                    <a:p>
                      <a:r>
                        <a:rPr lang="en-US" sz="2000" b="1" dirty="0">
                          <a:effectLst/>
                        </a:rPr>
                        <a:t>9,507,367</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tc>
                  <a:txBody>
                    <a:bodyPr/>
                    <a:lstStyle/>
                    <a:p>
                      <a:r>
                        <a:rPr lang="en-US" sz="2000" b="1" dirty="0">
                          <a:effectLst/>
                        </a:rPr>
                        <a:t>12,782,589</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tc>
                  <a:txBody>
                    <a:bodyPr/>
                    <a:lstStyle/>
                    <a:p>
                      <a:r>
                        <a:rPr lang="en-US" sz="2000" b="1" dirty="0">
                          <a:effectLst/>
                        </a:rPr>
                        <a:t>8,577,029</a:t>
                      </a:r>
                      <a:endParaRPr lang="en-GH" sz="2000" b="1" dirty="0">
                        <a:effectLst/>
                        <a:latin typeface="Calibri" panose="020F0502020204030204" pitchFamily="34" charset="0"/>
                        <a:ea typeface="DengXian" panose="02010600030101010101" pitchFamily="2" charset="-122"/>
                        <a:cs typeface="Arial" panose="020B0604020202020204" pitchFamily="34" charset="0"/>
                      </a:endParaRPr>
                    </a:p>
                  </a:txBody>
                  <a:tcPr marL="103135" marR="103135" marT="0" marB="0" anchor="ctr"/>
                </a:tc>
                <a:extLst>
                  <a:ext uri="{0D108BD9-81ED-4DB2-BD59-A6C34878D82A}">
                    <a16:rowId xmlns:a16="http://schemas.microsoft.com/office/drawing/2014/main" val="3011090"/>
                  </a:ext>
                </a:extLst>
              </a:tr>
            </a:tbl>
          </a:graphicData>
        </a:graphic>
      </p:graphicFrame>
    </p:spTree>
    <p:extLst>
      <p:ext uri="{BB962C8B-B14F-4D97-AF65-F5344CB8AC3E}">
        <p14:creationId xmlns:p14="http://schemas.microsoft.com/office/powerpoint/2010/main" val="40899648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85F4C6-BEDB-2B4A-88B0-446654A63A49}"/>
              </a:ext>
            </a:extLst>
          </p:cNvPr>
          <p:cNvSpPr>
            <a:spLocks noGrp="1"/>
          </p:cNvSpPr>
          <p:nvPr>
            <p:ph type="dt" sz="half" idx="10"/>
          </p:nvPr>
        </p:nvSpPr>
        <p:spPr/>
        <p:txBody>
          <a:bodyPr/>
          <a:lstStyle/>
          <a:p>
            <a:pPr defTabSz="1097280">
              <a:defRPr/>
            </a:pPr>
            <a:fld id="{FFA915CC-8CD6-41FC-8E94-7DE00D48C25A}"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3" name="Slide Number Placeholder 2">
            <a:extLst>
              <a:ext uri="{FF2B5EF4-FFF2-40B4-BE49-F238E27FC236}">
                <a16:creationId xmlns:a16="http://schemas.microsoft.com/office/drawing/2014/main" id="{7793901E-F34D-504E-B7D8-0C8DFCD40B24}"/>
              </a:ext>
            </a:extLst>
          </p:cNvPr>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28</a:t>
            </a:fld>
            <a:endParaRPr lang="en-US" sz="1440" dirty="0">
              <a:solidFill>
                <a:prstClr val="black">
                  <a:tint val="75000"/>
                </a:prstClr>
              </a:solidFill>
              <a:latin typeface="Arial" panose="020B0604020202020204"/>
            </a:endParaRPr>
          </a:p>
        </p:txBody>
      </p:sp>
      <p:sp>
        <p:nvSpPr>
          <p:cNvPr id="5" name="TextBox 4">
            <a:extLst>
              <a:ext uri="{FF2B5EF4-FFF2-40B4-BE49-F238E27FC236}">
                <a16:creationId xmlns:a16="http://schemas.microsoft.com/office/drawing/2014/main" id="{2B706BDA-8BFD-A44C-9CB3-52425F57C7F4}"/>
              </a:ext>
            </a:extLst>
          </p:cNvPr>
          <p:cNvSpPr txBox="1"/>
          <p:nvPr/>
        </p:nvSpPr>
        <p:spPr>
          <a:xfrm>
            <a:off x="7196665" y="608727"/>
            <a:ext cx="6520816" cy="6740307"/>
          </a:xfrm>
          <a:prstGeom prst="rect">
            <a:avLst/>
          </a:prstGeom>
          <a:noFill/>
        </p:spPr>
        <p:txBody>
          <a:bodyPr wrap="square">
            <a:spAutoFit/>
          </a:bodyPr>
          <a:lstStyle/>
          <a:p>
            <a:r>
              <a:rPr lang="en-US" sz="2400" dirty="0">
                <a:latin typeface="Times New Roman" panose="02020603050405020304" pitchFamily="18" charset="0"/>
                <a:ea typeface="DengXian" panose="02010600030101010101" pitchFamily="2" charset="-122"/>
              </a:rPr>
              <a:t>The cost estimates of the four priority interventions show that funding for ASRH fluctuates over the years. </a:t>
            </a:r>
          </a:p>
          <a:p>
            <a:endParaRPr lang="en-US" sz="2400" dirty="0">
              <a:latin typeface="Times New Roman" panose="02020603050405020304" pitchFamily="18" charset="0"/>
              <a:ea typeface="DengXian" panose="02010600030101010101" pitchFamily="2" charset="-122"/>
            </a:endParaRPr>
          </a:p>
          <a:p>
            <a:r>
              <a:rPr lang="en-US" sz="2400" dirty="0">
                <a:latin typeface="Times New Roman" panose="02020603050405020304" pitchFamily="18" charset="0"/>
                <a:ea typeface="DengXian" panose="02010600030101010101" pitchFamily="2" charset="-122"/>
              </a:rPr>
              <a:t>This points unsteadiness in the funding of ASRH activities in the country perhaps reflecting fact that ASRH funding in Ghana is highly donor dependent. </a:t>
            </a:r>
          </a:p>
          <a:p>
            <a:endParaRPr lang="en-US" sz="2400" dirty="0">
              <a:latin typeface="Times New Roman" panose="02020603050405020304" pitchFamily="18" charset="0"/>
              <a:ea typeface="DengXian" panose="02010600030101010101" pitchFamily="2" charset="-122"/>
            </a:endParaRPr>
          </a:p>
          <a:p>
            <a:r>
              <a:rPr lang="en-US" sz="2400" dirty="0">
                <a:latin typeface="Times New Roman" panose="02020603050405020304" pitchFamily="18" charset="0"/>
                <a:ea typeface="DengXian" panose="02010600030101010101" pitchFamily="2" charset="-122"/>
              </a:rPr>
              <a:t>The decline in ASRH funding in 2021 may be as a result of the impact of the Covid-19 pandemic which caused general resource re-allocation across the world. </a:t>
            </a:r>
          </a:p>
          <a:p>
            <a:endParaRPr lang="en-US" sz="2400" dirty="0">
              <a:latin typeface="Times New Roman" panose="02020603050405020304" pitchFamily="18" charset="0"/>
              <a:ea typeface="DengXian" panose="02010600030101010101" pitchFamily="2" charset="-122"/>
            </a:endParaRPr>
          </a:p>
          <a:p>
            <a:r>
              <a:rPr lang="en-US" sz="2400" dirty="0">
                <a:latin typeface="Times New Roman" panose="02020603050405020304" pitchFamily="18" charset="0"/>
                <a:ea typeface="DengXian" panose="02010600030101010101" pitchFamily="2" charset="-122"/>
              </a:rPr>
              <a:t>* The costs estimated is also based on the availability of data, therefore we are cautious to attribute the shortfall to the Covid-19 pandemic. </a:t>
            </a:r>
            <a:r>
              <a:rPr lang="en-US" sz="2400" dirty="0" err="1">
                <a:latin typeface="Times New Roman" panose="02020603050405020304" pitchFamily="18" charset="0"/>
                <a:ea typeface="DengXian" panose="02010600030101010101" pitchFamily="2" charset="-122"/>
              </a:rPr>
              <a:t>Eg</a:t>
            </a:r>
            <a:r>
              <a:rPr lang="en-US" sz="2400" dirty="0">
                <a:latin typeface="Times New Roman" panose="02020603050405020304" pitchFamily="18" charset="0"/>
                <a:ea typeface="DengXian" panose="02010600030101010101" pitchFamily="2" charset="-122"/>
              </a:rPr>
              <a:t>, 2017 suffered from severe lack of data.</a:t>
            </a:r>
            <a:endParaRPr lang="en-GH" sz="2400" dirty="0"/>
          </a:p>
        </p:txBody>
      </p:sp>
      <p:graphicFrame>
        <p:nvGraphicFramePr>
          <p:cNvPr id="6" name="Chart 5">
            <a:extLst>
              <a:ext uri="{FF2B5EF4-FFF2-40B4-BE49-F238E27FC236}">
                <a16:creationId xmlns:a16="http://schemas.microsoft.com/office/drawing/2014/main" id="{B5440DED-1B05-C74B-B131-F970C5DCC0B3}"/>
              </a:ext>
            </a:extLst>
          </p:cNvPr>
          <p:cNvGraphicFramePr/>
          <p:nvPr>
            <p:extLst>
              <p:ext uri="{D42A27DB-BD31-4B8C-83A1-F6EECF244321}">
                <p14:modId xmlns:p14="http://schemas.microsoft.com/office/powerpoint/2010/main" val="3353084974"/>
              </p:ext>
            </p:extLst>
          </p:nvPr>
        </p:nvGraphicFramePr>
        <p:xfrm>
          <a:off x="258058" y="1785192"/>
          <a:ext cx="6391656" cy="505566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479D9AB-FB16-6942-B6ED-ED5FDE427ED6}"/>
              </a:ext>
            </a:extLst>
          </p:cNvPr>
          <p:cNvSpPr txBox="1"/>
          <p:nvPr/>
        </p:nvSpPr>
        <p:spPr>
          <a:xfrm>
            <a:off x="112256" y="972425"/>
            <a:ext cx="7363776" cy="424732"/>
          </a:xfrm>
          <a:prstGeom prst="rect">
            <a:avLst/>
          </a:prstGeom>
          <a:noFill/>
        </p:spPr>
        <p:txBody>
          <a:bodyPr wrap="square">
            <a:spAutoFit/>
          </a:bodyPr>
          <a:lstStyle/>
          <a:p>
            <a:r>
              <a:rPr lang="en-US" altLang="en-GH" sz="2160" b="1" dirty="0"/>
              <a:t>Total costs, 2015-2021 </a:t>
            </a:r>
            <a:endParaRPr lang="en-GH" sz="2160" dirty="0"/>
          </a:p>
        </p:txBody>
      </p:sp>
    </p:spTree>
    <p:extLst>
      <p:ext uri="{BB962C8B-B14F-4D97-AF65-F5344CB8AC3E}">
        <p14:creationId xmlns:p14="http://schemas.microsoft.com/office/powerpoint/2010/main" val="8832888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9FF2A80-CB9C-5B45-93A3-602A4748E719}"/>
              </a:ext>
            </a:extLst>
          </p:cNvPr>
          <p:cNvSpPr>
            <a:spLocks noGrp="1"/>
          </p:cNvSpPr>
          <p:nvPr>
            <p:ph type="dt" sz="half" idx="10"/>
          </p:nvPr>
        </p:nvSpPr>
        <p:spPr/>
        <p:txBody>
          <a:bodyPr/>
          <a:lstStyle/>
          <a:p>
            <a:pPr defTabSz="1097280">
              <a:defRPr/>
            </a:pPr>
            <a:fld id="{FFA915CC-8CD6-41FC-8E94-7DE00D48C25A}"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3" name="Slide Number Placeholder 2">
            <a:extLst>
              <a:ext uri="{FF2B5EF4-FFF2-40B4-BE49-F238E27FC236}">
                <a16:creationId xmlns:a16="http://schemas.microsoft.com/office/drawing/2014/main" id="{28C19A21-329F-8048-8505-32E854DBCE73}"/>
              </a:ext>
            </a:extLst>
          </p:cNvPr>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29</a:t>
            </a:fld>
            <a:endParaRPr lang="en-US" sz="1440">
              <a:solidFill>
                <a:prstClr val="black">
                  <a:tint val="75000"/>
                </a:prstClr>
              </a:solidFill>
              <a:latin typeface="Arial" panose="020B0604020202020204"/>
            </a:endParaRPr>
          </a:p>
        </p:txBody>
      </p:sp>
      <p:sp>
        <p:nvSpPr>
          <p:cNvPr id="5" name="TextBox 4">
            <a:extLst>
              <a:ext uri="{FF2B5EF4-FFF2-40B4-BE49-F238E27FC236}">
                <a16:creationId xmlns:a16="http://schemas.microsoft.com/office/drawing/2014/main" id="{D1789D1C-14D8-B44C-8117-53C7F1162753}"/>
              </a:ext>
            </a:extLst>
          </p:cNvPr>
          <p:cNvSpPr txBox="1"/>
          <p:nvPr/>
        </p:nvSpPr>
        <p:spPr>
          <a:xfrm>
            <a:off x="8210550" y="1509720"/>
            <a:ext cx="6047317" cy="5152180"/>
          </a:xfrm>
          <a:prstGeom prst="rect">
            <a:avLst/>
          </a:prstGeom>
          <a:noFill/>
        </p:spPr>
        <p:txBody>
          <a:bodyPr wrap="square">
            <a:spAutoFit/>
          </a:bodyPr>
          <a:lstStyle/>
          <a:p>
            <a:r>
              <a:rPr lang="en-US" sz="2400" dirty="0">
                <a:latin typeface="Times New Roman" panose="02020603050405020304" pitchFamily="18" charset="0"/>
                <a:ea typeface="DengXian" panose="02010600030101010101" pitchFamily="2" charset="-122"/>
              </a:rPr>
              <a:t>Between 2015 and 2021, funding was concentrated around the s</a:t>
            </a:r>
            <a:r>
              <a:rPr lang="en-US" sz="2160" dirty="0">
                <a:solidFill>
                  <a:srgbClr val="000000"/>
                </a:solidFill>
                <a:latin typeface="Times New Roman" panose="02020603050405020304" pitchFamily="18" charset="0"/>
                <a:ea typeface="Times New Roman" panose="02020603050405020304" pitchFamily="18" charset="0"/>
              </a:rPr>
              <a:t>trengthened of national capacity in delivering high-quality integrated family planning and comprehensive maternal health services (63%).</a:t>
            </a:r>
          </a:p>
          <a:p>
            <a:endParaRPr lang="en-US" sz="2160" dirty="0">
              <a:solidFill>
                <a:srgbClr val="000000"/>
              </a:solidFill>
              <a:latin typeface="Times New Roman" panose="02020603050405020304" pitchFamily="18" charset="0"/>
              <a:ea typeface="Times New Roman" panose="02020603050405020304" pitchFamily="18" charset="0"/>
            </a:endParaRPr>
          </a:p>
          <a:p>
            <a:r>
              <a:rPr lang="en-US" sz="2160" dirty="0">
                <a:solidFill>
                  <a:srgbClr val="000000"/>
                </a:solidFill>
                <a:latin typeface="Times New Roman" panose="02020603050405020304" pitchFamily="18" charset="0"/>
                <a:ea typeface="Times New Roman" panose="02020603050405020304" pitchFamily="18" charset="0"/>
              </a:rPr>
              <a:t>Empowering Adolescent Girls through Comprehensive Sexuality Education intervention received </a:t>
            </a:r>
            <a:r>
              <a:rPr lang="en-US" sz="2160" dirty="0">
                <a:solidFill>
                  <a:srgbClr val="000000"/>
                </a:solidFill>
                <a:latin typeface="Times New Roman" panose="02020603050405020304" pitchFamily="18" charset="0"/>
                <a:ea typeface="DengXian" panose="02010600030101010101" pitchFamily="2" charset="-122"/>
              </a:rPr>
              <a:t>about 30% of the total ASRH funding for the period. </a:t>
            </a:r>
          </a:p>
          <a:p>
            <a:endParaRPr lang="en-US" sz="2160" dirty="0">
              <a:solidFill>
                <a:srgbClr val="000000"/>
              </a:solidFill>
              <a:latin typeface="Times New Roman" panose="02020603050405020304" pitchFamily="18" charset="0"/>
              <a:ea typeface="DengXian" panose="02010600030101010101" pitchFamily="2" charset="-122"/>
            </a:endParaRPr>
          </a:p>
          <a:p>
            <a:r>
              <a:rPr lang="en-US" sz="2160" dirty="0">
                <a:solidFill>
                  <a:srgbClr val="000000"/>
                </a:solidFill>
                <a:latin typeface="Times New Roman" panose="02020603050405020304" pitchFamily="18" charset="0"/>
                <a:ea typeface="DengXian" panose="02010600030101010101" pitchFamily="2" charset="-122"/>
              </a:rPr>
              <a:t>Noted that until 2021 strengthening of national capacity and adolescent empowerment through comprehensive sexuality education were the major interventions that received ASRH funding in Ghana. </a:t>
            </a:r>
            <a:endParaRPr lang="en-GH" sz="2160" dirty="0"/>
          </a:p>
        </p:txBody>
      </p:sp>
      <p:sp>
        <p:nvSpPr>
          <p:cNvPr id="7" name="TextBox 6">
            <a:extLst>
              <a:ext uri="{FF2B5EF4-FFF2-40B4-BE49-F238E27FC236}">
                <a16:creationId xmlns:a16="http://schemas.microsoft.com/office/drawing/2014/main" id="{F2A7F22C-804A-484E-BE7E-C3DCADE1A6AD}"/>
              </a:ext>
            </a:extLst>
          </p:cNvPr>
          <p:cNvSpPr txBox="1"/>
          <p:nvPr/>
        </p:nvSpPr>
        <p:spPr>
          <a:xfrm>
            <a:off x="506971" y="1121922"/>
            <a:ext cx="7319830" cy="387798"/>
          </a:xfrm>
          <a:prstGeom prst="rect">
            <a:avLst/>
          </a:prstGeom>
          <a:noFill/>
        </p:spPr>
        <p:txBody>
          <a:bodyPr wrap="square">
            <a:spAutoFit/>
          </a:bodyPr>
          <a:lstStyle/>
          <a:p>
            <a:r>
              <a:rPr lang="en-US" altLang="en-GH" sz="1920" b="1" dirty="0"/>
              <a:t>Cost share estimates by Priority Intervention , 2015-2021</a:t>
            </a:r>
            <a:endParaRPr lang="en-GH" sz="1920" dirty="0"/>
          </a:p>
        </p:txBody>
      </p:sp>
      <p:graphicFrame>
        <p:nvGraphicFramePr>
          <p:cNvPr id="8" name="Chart 7">
            <a:extLst>
              <a:ext uri="{FF2B5EF4-FFF2-40B4-BE49-F238E27FC236}">
                <a16:creationId xmlns:a16="http://schemas.microsoft.com/office/drawing/2014/main" id="{1CA9B74C-77B4-61B2-2A91-9C29A45E38DB}"/>
              </a:ext>
            </a:extLst>
          </p:cNvPr>
          <p:cNvGraphicFramePr>
            <a:graphicFrameLocks/>
          </p:cNvGraphicFramePr>
          <p:nvPr/>
        </p:nvGraphicFramePr>
        <p:xfrm>
          <a:off x="770874" y="1994535"/>
          <a:ext cx="7439676" cy="52836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05983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D1D34770-47A8-402C-AF23-2B653F2D88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4626742"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3933" y="1195491"/>
            <a:ext cx="5991072" cy="909322"/>
          </a:xfrm>
        </p:spPr>
        <p:txBody>
          <a:bodyPr>
            <a:normAutofit/>
          </a:bodyPr>
          <a:lstStyle/>
          <a:p>
            <a:r>
              <a:rPr lang="en-ZA" sz="4800" dirty="0"/>
              <a:t>Introduction</a:t>
            </a:r>
          </a:p>
        </p:txBody>
      </p:sp>
      <p:sp>
        <p:nvSpPr>
          <p:cNvPr id="3" name="Content Placeholder 2"/>
          <p:cNvSpPr>
            <a:spLocks noGrp="1"/>
          </p:cNvSpPr>
          <p:nvPr>
            <p:ph idx="1"/>
          </p:nvPr>
        </p:nvSpPr>
        <p:spPr>
          <a:xfrm>
            <a:off x="1004016" y="2116668"/>
            <a:ext cx="7202532" cy="5244254"/>
          </a:xfrm>
        </p:spPr>
        <p:txBody>
          <a:bodyPr>
            <a:normAutofit/>
          </a:bodyPr>
          <a:lstStyle/>
          <a:p>
            <a:r>
              <a:rPr lang="en-ZA" sz="2400" dirty="0"/>
              <a:t>Pregnancy and delivery complications among adolescents and young girls</a:t>
            </a:r>
          </a:p>
          <a:p>
            <a:pPr lvl="1"/>
            <a:r>
              <a:rPr lang="en-ZA" sz="2400" dirty="0"/>
              <a:t>Contribute significantly to mortality in the ECOWAS region</a:t>
            </a:r>
          </a:p>
          <a:p>
            <a:pPr lvl="1"/>
            <a:endParaRPr lang="en-ZA" sz="2400" dirty="0"/>
          </a:p>
          <a:p>
            <a:r>
              <a:rPr lang="en-ZA" sz="2400" dirty="0"/>
              <a:t>A strong desire to address the SRH challenges and needs of adolescents, especially girls.</a:t>
            </a:r>
          </a:p>
          <a:p>
            <a:pPr lvl="1"/>
            <a:r>
              <a:rPr lang="en-ZA" sz="2400" dirty="0"/>
              <a:t>Costing existing interventions that have great potentials for improving ASRH and well-being is critical, among other things.</a:t>
            </a:r>
          </a:p>
          <a:p>
            <a:pPr marL="548640" lvl="1" indent="0">
              <a:buNone/>
            </a:pPr>
            <a:endParaRPr lang="en-ZA" sz="2400" dirty="0"/>
          </a:p>
        </p:txBody>
      </p:sp>
      <p:pic>
        <p:nvPicPr>
          <p:cNvPr id="5" name="Picture 4" descr="Exclamation mark on a yellow background">
            <a:extLst>
              <a:ext uri="{FF2B5EF4-FFF2-40B4-BE49-F238E27FC236}">
                <a16:creationId xmlns:a16="http://schemas.microsoft.com/office/drawing/2014/main" id="{4C2193B7-41F5-1D3B-6E95-4D8711F6FF23}"/>
              </a:ext>
            </a:extLst>
          </p:cNvPr>
          <p:cNvPicPr>
            <a:picLocks noChangeAspect="1"/>
          </p:cNvPicPr>
          <p:nvPr/>
        </p:nvPicPr>
        <p:blipFill rotWithShape="1">
          <a:blip r:embed="rId2"/>
          <a:srcRect l="29159" r="16242"/>
          <a:stretch/>
        </p:blipFill>
        <p:spPr>
          <a:xfrm>
            <a:off x="8639328" y="10"/>
            <a:ext cx="5991072" cy="8229590"/>
          </a:xfrm>
          <a:prstGeom prst="rect">
            <a:avLst/>
          </a:prstGeom>
          <a:effectLst/>
        </p:spPr>
      </p:pic>
    </p:spTree>
    <p:extLst>
      <p:ext uri="{BB962C8B-B14F-4D97-AF65-F5344CB8AC3E}">
        <p14:creationId xmlns:p14="http://schemas.microsoft.com/office/powerpoint/2010/main" val="26410495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8604CD-7999-5542-85FC-95EDA87F0336}"/>
              </a:ext>
            </a:extLst>
          </p:cNvPr>
          <p:cNvSpPr>
            <a:spLocks noGrp="1"/>
          </p:cNvSpPr>
          <p:nvPr>
            <p:ph type="dt" sz="half" idx="10"/>
          </p:nvPr>
        </p:nvSpPr>
        <p:spPr/>
        <p:txBody>
          <a:bodyPr/>
          <a:lstStyle/>
          <a:p>
            <a:pPr defTabSz="1097280">
              <a:defRPr/>
            </a:pPr>
            <a:fld id="{FFA915CC-8CD6-41FC-8E94-7DE00D48C25A}"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3" name="Slide Number Placeholder 2">
            <a:extLst>
              <a:ext uri="{FF2B5EF4-FFF2-40B4-BE49-F238E27FC236}">
                <a16:creationId xmlns:a16="http://schemas.microsoft.com/office/drawing/2014/main" id="{7ACCB45F-4048-2244-A72D-8433D4DB537F}"/>
              </a:ext>
            </a:extLst>
          </p:cNvPr>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30</a:t>
            </a:fld>
            <a:endParaRPr lang="en-US" sz="1440">
              <a:solidFill>
                <a:prstClr val="black">
                  <a:tint val="75000"/>
                </a:prstClr>
              </a:solidFill>
              <a:latin typeface="Arial" panose="020B0604020202020204"/>
            </a:endParaRPr>
          </a:p>
        </p:txBody>
      </p:sp>
      <p:sp>
        <p:nvSpPr>
          <p:cNvPr id="4" name="Rectangle 2">
            <a:extLst>
              <a:ext uri="{FF2B5EF4-FFF2-40B4-BE49-F238E27FC236}">
                <a16:creationId xmlns:a16="http://schemas.microsoft.com/office/drawing/2014/main" id="{624D52CD-EAD9-0F41-A0C6-53E7E6AA2A01}"/>
              </a:ext>
            </a:extLst>
          </p:cNvPr>
          <p:cNvSpPr>
            <a:spLocks noChangeArrowheads="1"/>
          </p:cNvSpPr>
          <p:nvPr/>
        </p:nvSpPr>
        <p:spPr bwMode="auto">
          <a:xfrm>
            <a:off x="875045" y="644541"/>
            <a:ext cx="6055876"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9728" tIns="54864" rIns="109728" bIns="54864" numCol="1" anchor="ctr" anchorCtr="0" compatLnSpc="1">
            <a:prstTxWarp prst="textNoShape">
              <a:avLst/>
            </a:prstTxWarp>
            <a:spAutoFit/>
          </a:bodyPr>
          <a:lstStyle/>
          <a:p>
            <a:pPr defTabSz="1097280" eaLnBrk="0" fontAlgn="base" hangingPunct="0">
              <a:spcBef>
                <a:spcPct val="0"/>
              </a:spcBef>
              <a:spcAft>
                <a:spcPct val="0"/>
              </a:spcAft>
            </a:pPr>
            <a:r>
              <a:rPr lang="en-US" altLang="en-GH" sz="1920" b="1" dirty="0">
                <a:latin typeface="Calibri" panose="020F0502020204030204" pitchFamily="34" charset="0"/>
                <a:ea typeface="Times New Roman" panose="02020603050405020304" pitchFamily="18" charset="0"/>
                <a:cs typeface="Arial" panose="020B0604020202020204" pitchFamily="34" charset="0"/>
              </a:rPr>
              <a:t>Cost Components of ASRH Interventions in Ghana</a:t>
            </a:r>
            <a:endParaRPr lang="en-US" altLang="en-GH" sz="1920" dirty="0"/>
          </a:p>
          <a:p>
            <a:pPr defTabSz="1097280" eaLnBrk="0" fontAlgn="base" hangingPunct="0">
              <a:spcBef>
                <a:spcPct val="0"/>
              </a:spcBef>
              <a:spcAft>
                <a:spcPct val="0"/>
              </a:spcAft>
            </a:pPr>
            <a:endParaRPr lang="en-US" altLang="en-GH" sz="2160" dirty="0">
              <a:latin typeface="Arial" panose="020B0604020202020204" pitchFamily="34" charset="0"/>
            </a:endParaRPr>
          </a:p>
        </p:txBody>
      </p:sp>
      <p:graphicFrame>
        <p:nvGraphicFramePr>
          <p:cNvPr id="5" name="Chart 4">
            <a:extLst>
              <a:ext uri="{FF2B5EF4-FFF2-40B4-BE49-F238E27FC236}">
                <a16:creationId xmlns:a16="http://schemas.microsoft.com/office/drawing/2014/main" id="{4AABDBCA-9169-7D4C-B039-E5962EB89F39}"/>
              </a:ext>
            </a:extLst>
          </p:cNvPr>
          <p:cNvGraphicFramePr/>
          <p:nvPr/>
        </p:nvGraphicFramePr>
        <p:xfrm>
          <a:off x="360046" y="1318466"/>
          <a:ext cx="7445921" cy="5931916"/>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3">
            <a:extLst>
              <a:ext uri="{FF2B5EF4-FFF2-40B4-BE49-F238E27FC236}">
                <a16:creationId xmlns:a16="http://schemas.microsoft.com/office/drawing/2014/main" id="{8A1713C5-6665-6047-8DFC-8DDAF484AE71}"/>
              </a:ext>
            </a:extLst>
          </p:cNvPr>
          <p:cNvSpPr>
            <a:spLocks noChangeArrowheads="1"/>
          </p:cNvSpPr>
          <p:nvPr/>
        </p:nvSpPr>
        <p:spPr bwMode="auto">
          <a:xfrm>
            <a:off x="1027832" y="5121661"/>
            <a:ext cx="221664" cy="44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9728" tIns="54864" rIns="109728" bIns="54864" numCol="1" anchor="ctr" anchorCtr="0" compatLnSpc="1">
            <a:prstTxWarp prst="textNoShape">
              <a:avLst/>
            </a:prstTxWarp>
            <a:spAutoFit/>
          </a:bodyPr>
          <a:lstStyle/>
          <a:p>
            <a:endParaRPr lang="en-GH" sz="2160" dirty="0"/>
          </a:p>
        </p:txBody>
      </p:sp>
      <p:sp>
        <p:nvSpPr>
          <p:cNvPr id="8" name="TextBox 7">
            <a:extLst>
              <a:ext uri="{FF2B5EF4-FFF2-40B4-BE49-F238E27FC236}">
                <a16:creationId xmlns:a16="http://schemas.microsoft.com/office/drawing/2014/main" id="{61B4BDB1-3B52-554B-A91D-0A5218F6CEDE}"/>
              </a:ext>
            </a:extLst>
          </p:cNvPr>
          <p:cNvSpPr txBox="1"/>
          <p:nvPr/>
        </p:nvSpPr>
        <p:spPr>
          <a:xfrm>
            <a:off x="8047808" y="1916767"/>
            <a:ext cx="6222548" cy="4893647"/>
          </a:xfrm>
          <a:prstGeom prst="rect">
            <a:avLst/>
          </a:prstGeom>
          <a:noFill/>
        </p:spPr>
        <p:txBody>
          <a:bodyPr wrap="square">
            <a:spAutoFit/>
          </a:bodyPr>
          <a:lstStyle/>
          <a:p>
            <a:r>
              <a:rPr lang="en-US" sz="2400" dirty="0">
                <a:latin typeface="Times New Roman" panose="02020603050405020304" pitchFamily="18" charset="0"/>
                <a:ea typeface="DengXian" panose="02010600030101010101" pitchFamily="2" charset="-122"/>
              </a:rPr>
              <a:t>Based on the categorization of the 8 major cost centers, the data show that across the years, there are emerging significant cost categories. </a:t>
            </a:r>
          </a:p>
          <a:p>
            <a:endParaRPr lang="en-US" sz="2400" dirty="0">
              <a:latin typeface="Times New Roman" panose="02020603050405020304" pitchFamily="18" charset="0"/>
              <a:ea typeface="DengXian" panose="02010600030101010101" pitchFamily="2" charset="-122"/>
            </a:endParaRPr>
          </a:p>
          <a:p>
            <a:r>
              <a:rPr lang="en-US" sz="2400" dirty="0">
                <a:latin typeface="Times New Roman" panose="02020603050405020304" pitchFamily="18" charset="0"/>
                <a:ea typeface="DengXian" panose="02010600030101010101" pitchFamily="2" charset="-122"/>
              </a:rPr>
              <a:t>Prior to 2018, there were mixed results and generally low funding for interventions.</a:t>
            </a:r>
          </a:p>
          <a:p>
            <a:endParaRPr lang="en-US" sz="2400" dirty="0">
              <a:latin typeface="Times New Roman" panose="02020603050405020304" pitchFamily="18" charset="0"/>
              <a:ea typeface="DengXian" panose="02010600030101010101" pitchFamily="2" charset="-122"/>
            </a:endParaRPr>
          </a:p>
          <a:p>
            <a:r>
              <a:rPr lang="en-US" sz="2400" dirty="0">
                <a:latin typeface="Times New Roman" panose="02020603050405020304" pitchFamily="18" charset="0"/>
                <a:ea typeface="DengXian" panose="02010600030101010101" pitchFamily="2" charset="-122"/>
              </a:rPr>
              <a:t>Salary cost related to activities and outreach and communication costs were high cost centers in 2015</a:t>
            </a:r>
          </a:p>
          <a:p>
            <a:endParaRPr lang="en-US" sz="2400" dirty="0">
              <a:latin typeface="Times New Roman" panose="02020603050405020304" pitchFamily="18" charset="0"/>
              <a:ea typeface="DengXian" panose="02010600030101010101" pitchFamily="2" charset="-122"/>
            </a:endParaRPr>
          </a:p>
          <a:p>
            <a:r>
              <a:rPr lang="en-US" sz="2400" dirty="0">
                <a:latin typeface="Times New Roman" panose="02020603050405020304" pitchFamily="18" charset="0"/>
                <a:ea typeface="DengXian" panose="02010600030101010101" pitchFamily="2" charset="-122"/>
              </a:rPr>
              <a:t>In 2016, travel cost was the most significant cost center.</a:t>
            </a:r>
            <a:r>
              <a:rPr lang="en-GH" sz="2400" dirty="0"/>
              <a:t> </a:t>
            </a:r>
          </a:p>
        </p:txBody>
      </p:sp>
    </p:spTree>
    <p:extLst>
      <p:ext uri="{BB962C8B-B14F-4D97-AF65-F5344CB8AC3E}">
        <p14:creationId xmlns:p14="http://schemas.microsoft.com/office/powerpoint/2010/main" val="25275406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9DE98F90-A8EB-4D4D-8439-E34182796B2D}"/>
              </a:ext>
            </a:extLst>
          </p:cNvPr>
          <p:cNvSpPr>
            <a:spLocks noChangeArrowheads="1"/>
          </p:cNvSpPr>
          <p:nvPr/>
        </p:nvSpPr>
        <p:spPr bwMode="auto">
          <a:xfrm>
            <a:off x="778715" y="755120"/>
            <a:ext cx="4206594" cy="194678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109728" tIns="54864" rIns="109728" bIns="54864" numCol="1" rtlCol="0" anchor="ctr" anchorCtr="0" compatLnSpc="1">
            <a:prstTxWarp prst="textNoShape">
              <a:avLst/>
            </a:prstTxWarp>
            <a:normAutofit/>
          </a:bodyPr>
          <a:lstStyle/>
          <a:p>
            <a:pPr fontAlgn="base">
              <a:lnSpc>
                <a:spcPct val="90000"/>
              </a:lnSpc>
              <a:spcBef>
                <a:spcPct val="0"/>
              </a:spcBef>
              <a:spcAft>
                <a:spcPts val="720"/>
              </a:spcAft>
            </a:pPr>
            <a:endParaRPr lang="en-US" altLang="en-GH" sz="2880" b="1" dirty="0">
              <a:latin typeface="+mj-lt"/>
              <a:ea typeface="+mj-ea"/>
              <a:cs typeface="+mj-cs"/>
            </a:endParaRPr>
          </a:p>
          <a:p>
            <a:pPr fontAlgn="base">
              <a:lnSpc>
                <a:spcPct val="90000"/>
              </a:lnSpc>
              <a:spcBef>
                <a:spcPct val="0"/>
              </a:spcBef>
              <a:spcAft>
                <a:spcPts val="720"/>
              </a:spcAft>
            </a:pPr>
            <a:r>
              <a:rPr lang="en-US" altLang="en-GH" sz="2400" b="1" dirty="0">
                <a:latin typeface="+mj-lt"/>
                <a:ea typeface="+mj-ea"/>
                <a:cs typeface="+mj-cs"/>
              </a:rPr>
              <a:t>Commodities &amp; Supplies from 2015 -2021</a:t>
            </a:r>
            <a:endParaRPr lang="en-US" altLang="en-GH" sz="2400" dirty="0">
              <a:latin typeface="+mj-lt"/>
              <a:ea typeface="+mj-ea"/>
              <a:cs typeface="+mj-cs"/>
            </a:endParaRPr>
          </a:p>
          <a:p>
            <a:pPr fontAlgn="base">
              <a:lnSpc>
                <a:spcPct val="90000"/>
              </a:lnSpc>
              <a:spcBef>
                <a:spcPct val="0"/>
              </a:spcBef>
              <a:spcAft>
                <a:spcPts val="720"/>
              </a:spcAft>
            </a:pPr>
            <a:endParaRPr lang="en-US" altLang="en-GH" sz="2880" dirty="0">
              <a:latin typeface="+mj-lt"/>
              <a:ea typeface="+mj-ea"/>
              <a:cs typeface="+mj-cs"/>
            </a:endParaRPr>
          </a:p>
        </p:txBody>
      </p:sp>
      <p:sp>
        <p:nvSpPr>
          <p:cNvPr id="13" name="TextBox 12">
            <a:extLst>
              <a:ext uri="{FF2B5EF4-FFF2-40B4-BE49-F238E27FC236}">
                <a16:creationId xmlns:a16="http://schemas.microsoft.com/office/drawing/2014/main" id="{C0AC6AB7-DF79-4648-990F-D1148197285E}"/>
              </a:ext>
            </a:extLst>
          </p:cNvPr>
          <p:cNvSpPr txBox="1"/>
          <p:nvPr/>
        </p:nvSpPr>
        <p:spPr>
          <a:xfrm>
            <a:off x="778717" y="2319867"/>
            <a:ext cx="4449038" cy="5148717"/>
          </a:xfrm>
          <a:prstGeom prst="rect">
            <a:avLst/>
          </a:prstGeom>
        </p:spPr>
        <p:txBody>
          <a:bodyPr vert="horz" lIns="109728" tIns="54864" rIns="109728" bIns="54864" rtlCol="0">
            <a:normAutofit/>
          </a:bodyPr>
          <a:lstStyle/>
          <a:p>
            <a:pPr>
              <a:lnSpc>
                <a:spcPct val="90000"/>
              </a:lnSpc>
              <a:spcAft>
                <a:spcPts val="720"/>
              </a:spcAft>
            </a:pPr>
            <a:r>
              <a:rPr lang="en-US" sz="2400" dirty="0"/>
              <a:t>Commodities and supplies for example proved to be a major cost component of ARSH interventions in Ghana. </a:t>
            </a:r>
          </a:p>
          <a:p>
            <a:pPr>
              <a:lnSpc>
                <a:spcPct val="90000"/>
              </a:lnSpc>
              <a:spcAft>
                <a:spcPts val="720"/>
              </a:spcAft>
            </a:pPr>
            <a:endParaRPr lang="en-US" sz="2400" dirty="0"/>
          </a:p>
          <a:p>
            <a:pPr>
              <a:lnSpc>
                <a:spcPct val="90000"/>
              </a:lnSpc>
              <a:spcAft>
                <a:spcPts val="720"/>
              </a:spcAft>
            </a:pPr>
            <a:r>
              <a:rPr lang="en-US" sz="2400" dirty="0"/>
              <a:t>Between 2018 and 2021, commodities and supplies remains the dominant cost category for ASRH interventions in Ghana, costing between USD 1.8 million – 2 million over that period. </a:t>
            </a:r>
          </a:p>
        </p:txBody>
      </p:sp>
      <p:sp>
        <p:nvSpPr>
          <p:cNvPr id="2" name="Date Placeholder 1">
            <a:extLst>
              <a:ext uri="{FF2B5EF4-FFF2-40B4-BE49-F238E27FC236}">
                <a16:creationId xmlns:a16="http://schemas.microsoft.com/office/drawing/2014/main" id="{C35CBC43-FEC2-424D-B084-2E9A5A3F96C4}"/>
              </a:ext>
            </a:extLst>
          </p:cNvPr>
          <p:cNvSpPr>
            <a:spLocks noGrp="1"/>
          </p:cNvSpPr>
          <p:nvPr>
            <p:ph type="dt" sz="half" idx="10"/>
          </p:nvPr>
        </p:nvSpPr>
        <p:spPr>
          <a:xfrm>
            <a:off x="1005840" y="7627621"/>
            <a:ext cx="3291840" cy="438150"/>
          </a:xfrm>
        </p:spPr>
        <p:txBody>
          <a:bodyPr vert="horz" lIns="109728" tIns="54864" rIns="109728" bIns="54864" rtlCol="0" anchor="ctr">
            <a:normAutofit/>
          </a:bodyPr>
          <a:lstStyle/>
          <a:p>
            <a:pPr>
              <a:spcAft>
                <a:spcPts val="720"/>
              </a:spcAft>
              <a:defRPr/>
            </a:pPr>
            <a:fld id="{FFA915CC-8CD6-41FC-8E94-7DE00D48C25A}" type="datetime1">
              <a:rPr lang="en-US"/>
              <a:pPr>
                <a:spcAft>
                  <a:spcPts val="720"/>
                </a:spcAft>
                <a:defRPr/>
              </a:pPr>
              <a:t>9/6/23</a:t>
            </a:fld>
            <a:endParaRPr lang="en-US"/>
          </a:p>
        </p:txBody>
      </p:sp>
      <p:sp>
        <p:nvSpPr>
          <p:cNvPr id="3" name="Slide Number Placeholder 2">
            <a:extLst>
              <a:ext uri="{FF2B5EF4-FFF2-40B4-BE49-F238E27FC236}">
                <a16:creationId xmlns:a16="http://schemas.microsoft.com/office/drawing/2014/main" id="{2B7C4069-0F28-2548-80BB-249415B55BD7}"/>
              </a:ext>
            </a:extLst>
          </p:cNvPr>
          <p:cNvSpPr>
            <a:spLocks noGrp="1"/>
          </p:cNvSpPr>
          <p:nvPr>
            <p:ph type="sldNum" sz="quarter" idx="12"/>
          </p:nvPr>
        </p:nvSpPr>
        <p:spPr>
          <a:xfrm>
            <a:off x="10332720" y="7627621"/>
            <a:ext cx="3291840" cy="438150"/>
          </a:xfrm>
        </p:spPr>
        <p:txBody>
          <a:bodyPr vert="horz" lIns="109728" tIns="54864" rIns="109728" bIns="54864" rtlCol="0" anchor="ctr">
            <a:normAutofit/>
          </a:bodyPr>
          <a:lstStyle/>
          <a:p>
            <a:pPr>
              <a:spcAft>
                <a:spcPts val="720"/>
              </a:spcAft>
              <a:defRPr/>
            </a:pPr>
            <a:fld id="{1DB6C988-4D17-4769-AFD6-9FA8E95C5F4D}" type="slidenum">
              <a:rPr lang="en-US">
                <a:solidFill>
                  <a:srgbClr val="303030"/>
                </a:solidFill>
              </a:rPr>
              <a:pPr>
                <a:spcAft>
                  <a:spcPts val="720"/>
                </a:spcAft>
                <a:defRPr/>
              </a:pPr>
              <a:t>31</a:t>
            </a:fld>
            <a:endParaRPr lang="en-US">
              <a:solidFill>
                <a:srgbClr val="303030"/>
              </a:solidFill>
            </a:endParaRPr>
          </a:p>
        </p:txBody>
      </p:sp>
      <p:sp>
        <p:nvSpPr>
          <p:cNvPr id="9" name="Rectangle 3">
            <a:extLst>
              <a:ext uri="{FF2B5EF4-FFF2-40B4-BE49-F238E27FC236}">
                <a16:creationId xmlns:a16="http://schemas.microsoft.com/office/drawing/2014/main" id="{C40FD685-D786-4549-92FA-B5658854E1C4}"/>
              </a:ext>
            </a:extLst>
          </p:cNvPr>
          <p:cNvSpPr>
            <a:spLocks noChangeArrowheads="1"/>
          </p:cNvSpPr>
          <p:nvPr/>
        </p:nvSpPr>
        <p:spPr bwMode="auto">
          <a:xfrm>
            <a:off x="1" y="3817001"/>
            <a:ext cx="221664" cy="44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9728" tIns="54864" rIns="109728" bIns="54864" numCol="1" anchor="ctr" anchorCtr="0" compatLnSpc="1">
            <a:prstTxWarp prst="textNoShape">
              <a:avLst/>
            </a:prstTxWarp>
            <a:spAutoFit/>
          </a:bodyPr>
          <a:lstStyle/>
          <a:p>
            <a:endParaRPr lang="en-GH" sz="2160"/>
          </a:p>
        </p:txBody>
      </p:sp>
      <p:graphicFrame>
        <p:nvGraphicFramePr>
          <p:cNvPr id="8" name="Chart 7">
            <a:extLst>
              <a:ext uri="{FF2B5EF4-FFF2-40B4-BE49-F238E27FC236}">
                <a16:creationId xmlns:a16="http://schemas.microsoft.com/office/drawing/2014/main" id="{D89C1E0B-BAE4-9E46-AF75-50F5C2CF900E}"/>
              </a:ext>
            </a:extLst>
          </p:cNvPr>
          <p:cNvGraphicFramePr/>
          <p:nvPr/>
        </p:nvGraphicFramePr>
        <p:xfrm>
          <a:off x="6487035" y="969111"/>
          <a:ext cx="7223197" cy="62874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312138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B18D869-E9D0-3747-8A86-A3C4E2C33930}"/>
              </a:ext>
            </a:extLst>
          </p:cNvPr>
          <p:cNvSpPr txBox="1"/>
          <p:nvPr/>
        </p:nvSpPr>
        <p:spPr>
          <a:xfrm>
            <a:off x="772161" y="386082"/>
            <a:ext cx="13086079" cy="1362884"/>
          </a:xfrm>
          <a:prstGeom prst="rect">
            <a:avLst/>
          </a:prstGeom>
        </p:spPr>
        <p:txBody>
          <a:bodyPr vert="horz" lIns="109728" tIns="54864" rIns="109728" bIns="54864" rtlCol="0" anchor="ctr">
            <a:normAutofit/>
          </a:bodyPr>
          <a:lstStyle/>
          <a:p>
            <a:pPr>
              <a:lnSpc>
                <a:spcPct val="90000"/>
              </a:lnSpc>
              <a:spcBef>
                <a:spcPct val="0"/>
              </a:spcBef>
              <a:spcAft>
                <a:spcPts val="720"/>
              </a:spcAft>
            </a:pPr>
            <a:r>
              <a:rPr lang="en-US" sz="4320">
                <a:latin typeface="+mj-lt"/>
                <a:ea typeface="+mj-ea"/>
                <a:cs typeface="+mj-cs"/>
              </a:rPr>
              <a:t>Conclusion</a:t>
            </a:r>
          </a:p>
        </p:txBody>
      </p:sp>
      <p:sp>
        <p:nvSpPr>
          <p:cNvPr id="7" name="TextBox 6">
            <a:extLst>
              <a:ext uri="{FF2B5EF4-FFF2-40B4-BE49-F238E27FC236}">
                <a16:creationId xmlns:a16="http://schemas.microsoft.com/office/drawing/2014/main" id="{4D5AABF4-18BE-7348-A088-587A59DC344A}"/>
              </a:ext>
            </a:extLst>
          </p:cNvPr>
          <p:cNvSpPr txBox="1"/>
          <p:nvPr/>
        </p:nvSpPr>
        <p:spPr>
          <a:xfrm>
            <a:off x="772161" y="2139577"/>
            <a:ext cx="13086079" cy="5272778"/>
          </a:xfrm>
          <a:prstGeom prst="rect">
            <a:avLst/>
          </a:prstGeom>
        </p:spPr>
        <p:txBody>
          <a:bodyPr vert="horz" lIns="109728" tIns="54864" rIns="109728" bIns="54864" rtlCol="0">
            <a:normAutofit/>
          </a:bodyPr>
          <a:lstStyle/>
          <a:p>
            <a:pPr>
              <a:lnSpc>
                <a:spcPct val="90000"/>
              </a:lnSpc>
              <a:spcAft>
                <a:spcPts val="720"/>
              </a:spcAft>
            </a:pPr>
            <a:r>
              <a:rPr lang="en-US" sz="2800" dirty="0"/>
              <a:t>The cost estimates from the priority ASRH interventions in Ghana suggest instability in ASRH funding given the </a:t>
            </a:r>
            <a:r>
              <a:rPr lang="en-US" sz="2800" b="1" dirty="0"/>
              <a:t>erratic fluctuations in funding of interventions </a:t>
            </a:r>
            <a:r>
              <a:rPr lang="en-US" sz="2800" dirty="0"/>
              <a:t>over the years. </a:t>
            </a:r>
          </a:p>
          <a:p>
            <a:pPr>
              <a:lnSpc>
                <a:spcPct val="90000"/>
              </a:lnSpc>
              <a:spcAft>
                <a:spcPts val="720"/>
              </a:spcAft>
            </a:pPr>
            <a:endParaRPr lang="en-US" sz="2800" dirty="0"/>
          </a:p>
          <a:p>
            <a:pPr>
              <a:lnSpc>
                <a:spcPct val="90000"/>
              </a:lnSpc>
              <a:spcAft>
                <a:spcPts val="720"/>
              </a:spcAft>
            </a:pPr>
            <a:r>
              <a:rPr lang="en-US" sz="2800" dirty="0"/>
              <a:t>This further suggest that ASRH funding in Ghana is </a:t>
            </a:r>
            <a:r>
              <a:rPr lang="en-US" sz="2800" b="1" dirty="0"/>
              <a:t>susceptible to both external and internal shocks </a:t>
            </a:r>
            <a:r>
              <a:rPr lang="en-US" sz="2800" dirty="0"/>
              <a:t>given the limited internal financial support to core ASRH activities and the dominance of donor funded activities in the country. </a:t>
            </a:r>
          </a:p>
          <a:p>
            <a:pPr>
              <a:lnSpc>
                <a:spcPct val="90000"/>
              </a:lnSpc>
              <a:spcAft>
                <a:spcPts val="720"/>
              </a:spcAft>
            </a:pPr>
            <a:endParaRPr lang="en-US" sz="2800" dirty="0"/>
          </a:p>
          <a:p>
            <a:pPr>
              <a:lnSpc>
                <a:spcPct val="90000"/>
              </a:lnSpc>
              <a:spcAft>
                <a:spcPts val="720"/>
              </a:spcAft>
            </a:pPr>
            <a:r>
              <a:rPr lang="en-US" sz="2800" dirty="0"/>
              <a:t>Changes in international priorities could have dire consequences on funding of ASRH interventions, which could derail the gains made in providing ARSH services, and impact adversely on the country’s UHC progress given that sexual and reproductive health and rights is a central component of UHC.</a:t>
            </a:r>
          </a:p>
          <a:p>
            <a:pPr indent="-274320">
              <a:lnSpc>
                <a:spcPct val="90000"/>
              </a:lnSpc>
              <a:spcAft>
                <a:spcPts val="720"/>
              </a:spcAft>
              <a:buFont typeface="Arial" panose="020B0604020202020204" pitchFamily="34" charset="0"/>
              <a:buChar char="•"/>
            </a:pPr>
            <a:endParaRPr lang="en-US" sz="2400" dirty="0"/>
          </a:p>
          <a:p>
            <a:pPr indent="-274320">
              <a:lnSpc>
                <a:spcPct val="90000"/>
              </a:lnSpc>
              <a:spcAft>
                <a:spcPts val="720"/>
              </a:spcAft>
              <a:buFont typeface="Arial" panose="020B0604020202020204" pitchFamily="34" charset="0"/>
              <a:buChar char="•"/>
            </a:pPr>
            <a:endParaRPr lang="en-US" sz="2400" dirty="0"/>
          </a:p>
          <a:p>
            <a:pPr indent="-274320">
              <a:lnSpc>
                <a:spcPct val="90000"/>
              </a:lnSpc>
              <a:spcAft>
                <a:spcPts val="720"/>
              </a:spcAft>
              <a:buFont typeface="Arial" panose="020B0604020202020204" pitchFamily="34" charset="0"/>
              <a:buChar char="•"/>
            </a:pPr>
            <a:endParaRPr lang="en-US" sz="2400" dirty="0"/>
          </a:p>
        </p:txBody>
      </p:sp>
      <p:sp>
        <p:nvSpPr>
          <p:cNvPr id="2" name="Date Placeholder 1">
            <a:extLst>
              <a:ext uri="{FF2B5EF4-FFF2-40B4-BE49-F238E27FC236}">
                <a16:creationId xmlns:a16="http://schemas.microsoft.com/office/drawing/2014/main" id="{8EDBAEB1-D9BC-6D48-9B93-2177097E5A33}"/>
              </a:ext>
            </a:extLst>
          </p:cNvPr>
          <p:cNvSpPr>
            <a:spLocks noGrp="1"/>
          </p:cNvSpPr>
          <p:nvPr>
            <p:ph type="dt" sz="half" idx="10"/>
          </p:nvPr>
        </p:nvSpPr>
        <p:spPr>
          <a:xfrm>
            <a:off x="772160" y="7627621"/>
            <a:ext cx="3291840" cy="438150"/>
          </a:xfrm>
        </p:spPr>
        <p:txBody>
          <a:bodyPr vert="horz" lIns="109728" tIns="54864" rIns="109728" bIns="54864" rtlCol="0" anchor="ctr">
            <a:normAutofit/>
          </a:bodyPr>
          <a:lstStyle/>
          <a:p>
            <a:pPr>
              <a:spcAft>
                <a:spcPts val="720"/>
              </a:spcAft>
              <a:defRPr/>
            </a:pPr>
            <a:fld id="{FFA915CC-8CD6-41FC-8E94-7DE00D48C25A}" type="datetime1">
              <a:rPr lang="en-US"/>
              <a:pPr>
                <a:spcAft>
                  <a:spcPts val="720"/>
                </a:spcAft>
                <a:defRPr/>
              </a:pPr>
              <a:t>9/6/23</a:t>
            </a:fld>
            <a:endParaRPr lang="en-US"/>
          </a:p>
        </p:txBody>
      </p:sp>
      <p:sp>
        <p:nvSpPr>
          <p:cNvPr id="3" name="Slide Number Placeholder 2">
            <a:extLst>
              <a:ext uri="{FF2B5EF4-FFF2-40B4-BE49-F238E27FC236}">
                <a16:creationId xmlns:a16="http://schemas.microsoft.com/office/drawing/2014/main" id="{1DC50592-209F-C045-AE67-28682C19C28E}"/>
              </a:ext>
            </a:extLst>
          </p:cNvPr>
          <p:cNvSpPr>
            <a:spLocks noGrp="1"/>
          </p:cNvSpPr>
          <p:nvPr>
            <p:ph type="sldNum" sz="quarter" idx="12"/>
          </p:nvPr>
        </p:nvSpPr>
        <p:spPr>
          <a:xfrm>
            <a:off x="10566400" y="7627621"/>
            <a:ext cx="3291840" cy="438150"/>
          </a:xfrm>
        </p:spPr>
        <p:txBody>
          <a:bodyPr vert="horz" lIns="109728" tIns="54864" rIns="109728" bIns="54864" rtlCol="0" anchor="ctr">
            <a:normAutofit/>
          </a:bodyPr>
          <a:lstStyle/>
          <a:p>
            <a:pPr>
              <a:spcAft>
                <a:spcPts val="720"/>
              </a:spcAft>
              <a:defRPr/>
            </a:pPr>
            <a:fld id="{1DB6C988-4D17-4769-AFD6-9FA8E95C5F4D}" type="slidenum">
              <a:rPr lang="en-US"/>
              <a:pPr>
                <a:spcAft>
                  <a:spcPts val="720"/>
                </a:spcAft>
                <a:defRPr/>
              </a:pPr>
              <a:t>32</a:t>
            </a:fld>
            <a:endParaRPr lang="en-US"/>
          </a:p>
        </p:txBody>
      </p:sp>
    </p:spTree>
    <p:extLst>
      <p:ext uri="{BB962C8B-B14F-4D97-AF65-F5344CB8AC3E}">
        <p14:creationId xmlns:p14="http://schemas.microsoft.com/office/powerpoint/2010/main" val="34650466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7232786-0EC1-304D-8562-78FBF45D4BD7}"/>
              </a:ext>
            </a:extLst>
          </p:cNvPr>
          <p:cNvSpPr>
            <a:spLocks noGrp="1"/>
          </p:cNvSpPr>
          <p:nvPr>
            <p:ph type="dt" sz="half" idx="10"/>
          </p:nvPr>
        </p:nvSpPr>
        <p:spPr/>
        <p:txBody>
          <a:bodyPr/>
          <a:lstStyle/>
          <a:p>
            <a:pPr defTabSz="1097280">
              <a:defRPr/>
            </a:pPr>
            <a:fld id="{FFA915CC-8CD6-41FC-8E94-7DE00D48C25A}"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3" name="Slide Number Placeholder 2">
            <a:extLst>
              <a:ext uri="{FF2B5EF4-FFF2-40B4-BE49-F238E27FC236}">
                <a16:creationId xmlns:a16="http://schemas.microsoft.com/office/drawing/2014/main" id="{D2E72E93-120B-0A4F-BD0F-08E6F8E77575}"/>
              </a:ext>
            </a:extLst>
          </p:cNvPr>
          <p:cNvSpPr>
            <a:spLocks noGrp="1"/>
          </p:cNvSpPr>
          <p:nvPr>
            <p:ph type="sldNum" sz="quarter" idx="12"/>
          </p:nvPr>
        </p:nvSpPr>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33</a:t>
            </a:fld>
            <a:endParaRPr lang="en-US" sz="1440">
              <a:solidFill>
                <a:prstClr val="black">
                  <a:tint val="75000"/>
                </a:prstClr>
              </a:solidFill>
              <a:latin typeface="Arial" panose="020B0604020202020204"/>
            </a:endParaRPr>
          </a:p>
        </p:txBody>
      </p:sp>
      <p:sp>
        <p:nvSpPr>
          <p:cNvPr id="5" name="TextBox 4">
            <a:extLst>
              <a:ext uri="{FF2B5EF4-FFF2-40B4-BE49-F238E27FC236}">
                <a16:creationId xmlns:a16="http://schemas.microsoft.com/office/drawing/2014/main" id="{16EAB45D-7CC0-5240-95BB-41B05F1B86BF}"/>
              </a:ext>
            </a:extLst>
          </p:cNvPr>
          <p:cNvSpPr txBox="1"/>
          <p:nvPr/>
        </p:nvSpPr>
        <p:spPr>
          <a:xfrm>
            <a:off x="2882096" y="3493873"/>
            <a:ext cx="7319830" cy="830997"/>
          </a:xfrm>
          <a:prstGeom prst="rect">
            <a:avLst/>
          </a:prstGeom>
          <a:noFill/>
        </p:spPr>
        <p:txBody>
          <a:bodyPr wrap="square">
            <a:spAutoFit/>
          </a:bodyPr>
          <a:lstStyle/>
          <a:p>
            <a:pPr algn="ctr"/>
            <a:r>
              <a:rPr lang="en-US" sz="4800" b="1" dirty="0">
                <a:latin typeface="Times New Roman" panose="02020603050405020304" pitchFamily="18" charset="0"/>
                <a:ea typeface="DengXian" panose="02010600030101010101" pitchFamily="2" charset="-122"/>
                <a:cs typeface="Arial" panose="020B0604020202020204" pitchFamily="34" charset="0"/>
              </a:rPr>
              <a:t>Results - Senegal</a:t>
            </a:r>
            <a:endParaRPr lang="en-GH" sz="4800" dirty="0">
              <a:latin typeface="Calibri" panose="020F0502020204030204" pitchFamily="34" charset="0"/>
              <a:ea typeface="DengXian" panose="02010600030101010101" pitchFamily="2" charset="-122"/>
              <a:cs typeface="Arial" panose="020B0604020202020204" pitchFamily="34" charset="0"/>
            </a:endParaRPr>
          </a:p>
        </p:txBody>
      </p:sp>
    </p:spTree>
    <p:extLst>
      <p:ext uri="{BB962C8B-B14F-4D97-AF65-F5344CB8AC3E}">
        <p14:creationId xmlns:p14="http://schemas.microsoft.com/office/powerpoint/2010/main" val="434047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4630398"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11" name="Rectangle 10">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0226935" cy="2743198"/>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914163" y="420235"/>
            <a:ext cx="5576285" cy="1949424"/>
          </a:xfrm>
        </p:spPr>
        <p:txBody>
          <a:bodyPr anchor="ctr">
            <a:normAutofit/>
          </a:bodyPr>
          <a:lstStyle/>
          <a:p>
            <a:r>
              <a:rPr lang="fr-FR" sz="4800" dirty="0"/>
              <a:t>Methodology</a:t>
            </a:r>
          </a:p>
        </p:txBody>
      </p:sp>
      <p:sp>
        <p:nvSpPr>
          <p:cNvPr id="3" name="Espace réservé du contenu 2"/>
          <p:cNvSpPr>
            <a:spLocks noGrp="1"/>
          </p:cNvSpPr>
          <p:nvPr>
            <p:ph idx="1"/>
          </p:nvPr>
        </p:nvSpPr>
        <p:spPr>
          <a:xfrm>
            <a:off x="441944" y="1760224"/>
            <a:ext cx="6460880" cy="4335778"/>
          </a:xfrm>
        </p:spPr>
        <p:txBody>
          <a:bodyPr anchor="ctr">
            <a:normAutofit/>
          </a:bodyPr>
          <a:lstStyle/>
          <a:p>
            <a:pPr marL="0" indent="0">
              <a:buNone/>
            </a:pPr>
            <a:endParaRPr lang="en-US" sz="3600" dirty="0">
              <a:ea typeface="Verdana" pitchFamily="34" charset="0"/>
            </a:endParaRPr>
          </a:p>
          <a:p>
            <a:r>
              <a:rPr lang="en-US" sz="3600" dirty="0">
                <a:ea typeface="Verdana" pitchFamily="34" charset="0"/>
              </a:rPr>
              <a:t>Collect data: one year (2021) exercise was considered as case study</a:t>
            </a:r>
          </a:p>
          <a:p>
            <a:r>
              <a:rPr lang="en-US" sz="3600" dirty="0">
                <a:ea typeface="Verdana" pitchFamily="34" charset="0"/>
              </a:rPr>
              <a:t>Data analysis : Cost per recipient</a:t>
            </a:r>
          </a:p>
          <a:p>
            <a:pPr marL="0" indent="0">
              <a:buNone/>
            </a:pPr>
            <a:endParaRPr lang="fr-FR" sz="3600" dirty="0"/>
          </a:p>
        </p:txBody>
      </p:sp>
      <p:pic>
        <p:nvPicPr>
          <p:cNvPr id="5" name="Picture 4" descr="Graph on document with pen">
            <a:extLst>
              <a:ext uri="{FF2B5EF4-FFF2-40B4-BE49-F238E27FC236}">
                <a16:creationId xmlns:a16="http://schemas.microsoft.com/office/drawing/2014/main" id="{2DA47A86-6889-23D5-B459-9CE5D915085E}"/>
              </a:ext>
            </a:extLst>
          </p:cNvPr>
          <p:cNvPicPr>
            <a:picLocks noChangeAspect="1"/>
          </p:cNvPicPr>
          <p:nvPr/>
        </p:nvPicPr>
        <p:blipFill rotWithShape="1">
          <a:blip r:embed="rId2"/>
          <a:srcRect l="27161" r="13438" b="-2"/>
          <a:stretch/>
        </p:blipFill>
        <p:spPr>
          <a:xfrm>
            <a:off x="7315200" y="1"/>
            <a:ext cx="7323390" cy="8229600"/>
          </a:xfrm>
          <a:prstGeom prst="rect">
            <a:avLst/>
          </a:prstGeom>
        </p:spPr>
      </p:pic>
    </p:spTree>
    <p:extLst>
      <p:ext uri="{BB962C8B-B14F-4D97-AF65-F5344CB8AC3E}">
        <p14:creationId xmlns:p14="http://schemas.microsoft.com/office/powerpoint/2010/main" val="33196294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DBF61EA3-B236-439E-9C0B-340980D56B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398" cy="82288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970365" y="464316"/>
            <a:ext cx="11084040" cy="1426740"/>
          </a:xfrm>
        </p:spPr>
        <p:txBody>
          <a:bodyPr anchor="b">
            <a:normAutofit/>
          </a:bodyPr>
          <a:lstStyle/>
          <a:p>
            <a:r>
              <a:rPr lang="fr-FR" sz="6500" dirty="0"/>
              <a:t>Results (1)</a:t>
            </a:r>
          </a:p>
        </p:txBody>
      </p:sp>
      <p:grpSp>
        <p:nvGrpSpPr>
          <p:cNvPr id="10" name="Group 9">
            <a:extLst>
              <a:ext uri="{FF2B5EF4-FFF2-40B4-BE49-F238E27FC236}">
                <a16:creationId xmlns:a16="http://schemas.microsoft.com/office/drawing/2014/main" id="{28FAF094-D087-493F-8DF9-A486C2D6BBA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 y="2398041"/>
            <a:ext cx="14034069" cy="938611"/>
            <a:chOff x="-2" y="1998368"/>
            <a:chExt cx="11695083" cy="782176"/>
          </a:xfrm>
        </p:grpSpPr>
        <p:sp>
          <p:nvSpPr>
            <p:cNvPr id="11" name="Rectangle 10">
              <a:extLst>
                <a:ext uri="{FF2B5EF4-FFF2-40B4-BE49-F238E27FC236}">
                  <a16:creationId xmlns:a16="http://schemas.microsoft.com/office/drawing/2014/main" id="{8D7C88D8-5509-4514-925A-9CE148E5CB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275593D-F75E-4426-AE3E-2CDEFD228D2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643694"/>
            <a:ext cx="13660034" cy="4977414"/>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space réservé du contenu 2"/>
          <p:cNvSpPr>
            <a:spLocks noGrp="1"/>
          </p:cNvSpPr>
          <p:nvPr>
            <p:ph idx="1"/>
          </p:nvPr>
        </p:nvSpPr>
        <p:spPr>
          <a:xfrm>
            <a:off x="952392" y="3119410"/>
            <a:ext cx="12172401" cy="4122638"/>
          </a:xfrm>
        </p:spPr>
        <p:txBody>
          <a:bodyPr anchor="ctr">
            <a:normAutofit/>
          </a:bodyPr>
          <a:lstStyle/>
          <a:p>
            <a:r>
              <a:rPr lang="fr-FR" sz="2900" dirty="0"/>
              <a:t>Data </a:t>
            </a:r>
            <a:r>
              <a:rPr lang="fr-FR" sz="2900" dirty="0" err="1"/>
              <a:t>available</a:t>
            </a:r>
            <a:r>
              <a:rPr lang="fr-FR" sz="2900" dirty="0"/>
              <a:t> for 4 interventions</a:t>
            </a:r>
          </a:p>
          <a:p>
            <a:r>
              <a:rPr lang="fr-FR" sz="2900" dirty="0" err="1"/>
              <a:t>Depending</a:t>
            </a:r>
            <a:r>
              <a:rPr lang="fr-FR" sz="2900" dirty="0"/>
              <a:t> on type of intervention and location:</a:t>
            </a:r>
          </a:p>
          <a:p>
            <a:pPr lvl="1"/>
            <a:r>
              <a:rPr lang="fr-FR" sz="2900" dirty="0"/>
              <a:t> </a:t>
            </a:r>
            <a:r>
              <a:rPr lang="fr-FR" sz="2900" dirty="0" err="1"/>
              <a:t>cost</a:t>
            </a:r>
            <a:r>
              <a:rPr lang="fr-FR" sz="2900" dirty="0"/>
              <a:t> per </a:t>
            </a:r>
            <a:r>
              <a:rPr lang="fr-FR" sz="2900" dirty="0" err="1"/>
              <a:t>recipient</a:t>
            </a:r>
            <a:r>
              <a:rPr lang="fr-FR" sz="2900" dirty="0"/>
              <a:t> </a:t>
            </a:r>
            <a:r>
              <a:rPr lang="fr-FR" sz="2900" dirty="0" err="1"/>
              <a:t>during</a:t>
            </a:r>
            <a:r>
              <a:rPr lang="fr-FR" sz="2900" dirty="0"/>
              <a:t> </a:t>
            </a:r>
            <a:r>
              <a:rPr lang="fr-FR" sz="2900" dirty="0" err="1"/>
              <a:t>implementation</a:t>
            </a:r>
            <a:r>
              <a:rPr lang="fr-FR" sz="2900" dirty="0"/>
              <a:t> ranged </a:t>
            </a:r>
            <a:r>
              <a:rPr lang="fr-FR" sz="2900" dirty="0" err="1"/>
              <a:t>from</a:t>
            </a:r>
            <a:r>
              <a:rPr lang="fr-FR" sz="2900" dirty="0"/>
              <a:t> 0.80 to 2.0 USD, </a:t>
            </a:r>
          </a:p>
          <a:p>
            <a:pPr lvl="1"/>
            <a:r>
              <a:rPr lang="fr-FR" sz="2900" dirty="0" err="1"/>
              <a:t>while</a:t>
            </a:r>
            <a:r>
              <a:rPr lang="fr-FR" sz="2900" dirty="0"/>
              <a:t> </a:t>
            </a:r>
            <a:r>
              <a:rPr lang="fr-FR" sz="2900" dirty="0" err="1"/>
              <a:t>cost</a:t>
            </a:r>
            <a:r>
              <a:rPr lang="fr-FR" sz="2900" dirty="0"/>
              <a:t> per </a:t>
            </a:r>
            <a:r>
              <a:rPr lang="fr-FR" sz="2900" dirty="0" err="1"/>
              <a:t>recipient</a:t>
            </a:r>
            <a:r>
              <a:rPr lang="fr-FR" sz="2900" dirty="0"/>
              <a:t> </a:t>
            </a:r>
            <a:r>
              <a:rPr lang="fr-FR" sz="2900" dirty="0" err="1"/>
              <a:t>using</a:t>
            </a:r>
            <a:r>
              <a:rPr lang="fr-FR" sz="2900" dirty="0"/>
              <a:t> </a:t>
            </a:r>
            <a:r>
              <a:rPr lang="fr-FR" sz="2900" dirty="0" err="1"/>
              <a:t>targeted</a:t>
            </a:r>
            <a:r>
              <a:rPr lang="fr-FR" sz="2900" dirty="0"/>
              <a:t> ranged </a:t>
            </a:r>
            <a:r>
              <a:rPr lang="fr-FR" sz="2900" dirty="0" err="1"/>
              <a:t>from</a:t>
            </a:r>
            <a:r>
              <a:rPr lang="fr-FR" sz="2900" dirty="0"/>
              <a:t> 0.90 to 38.0 USD</a:t>
            </a:r>
          </a:p>
          <a:p>
            <a:r>
              <a:rPr lang="en-GB" sz="2900" dirty="0"/>
              <a:t>The majority costs is for capacity strengthening of adolescents and communication/sensitization to communities. </a:t>
            </a:r>
          </a:p>
          <a:p>
            <a:r>
              <a:rPr lang="en-GB" sz="2900" dirty="0"/>
              <a:t>School-based interventions seem to be less expensive using cost per recipient approach</a:t>
            </a:r>
            <a:endParaRPr lang="fr-FR" sz="2900" dirty="0"/>
          </a:p>
        </p:txBody>
      </p:sp>
    </p:spTree>
    <p:extLst>
      <p:ext uri="{BB962C8B-B14F-4D97-AF65-F5344CB8AC3E}">
        <p14:creationId xmlns:p14="http://schemas.microsoft.com/office/powerpoint/2010/main" val="41688334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AD2F5602-6586-46E4-8645-2CDA442ABF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4630034"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9434B85-DB0D-4010-A6A1-147F28D47D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6" y="0"/>
            <a:ext cx="14630034"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re 1"/>
          <p:cNvSpPr>
            <a:spLocks noGrp="1"/>
          </p:cNvSpPr>
          <p:nvPr>
            <p:ph type="title"/>
          </p:nvPr>
        </p:nvSpPr>
        <p:spPr>
          <a:xfrm>
            <a:off x="1379901" y="231397"/>
            <a:ext cx="11800257" cy="631181"/>
          </a:xfrm>
        </p:spPr>
        <p:txBody>
          <a:bodyPr>
            <a:normAutofit fontScale="90000"/>
          </a:bodyPr>
          <a:lstStyle/>
          <a:p>
            <a:r>
              <a:rPr lang="fr-FR" sz="4800" dirty="0">
                <a:solidFill>
                  <a:schemeClr val="tx2"/>
                </a:solidFill>
              </a:rPr>
              <a:t>Results (2)</a:t>
            </a:r>
          </a:p>
        </p:txBody>
      </p:sp>
      <p:grpSp>
        <p:nvGrpSpPr>
          <p:cNvPr id="23" name="Group 22">
            <a:extLst>
              <a:ext uri="{FF2B5EF4-FFF2-40B4-BE49-F238E27FC236}">
                <a16:creationId xmlns:a16="http://schemas.microsoft.com/office/drawing/2014/main" id="{F2E5F4F0-80C0-49F3-84A2-453DE42F207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3498728" cy="2625394"/>
            <a:chOff x="-305" y="-1"/>
            <a:chExt cx="3832880" cy="2876136"/>
          </a:xfrm>
        </p:grpSpPr>
        <p:sp>
          <p:nvSpPr>
            <p:cNvPr id="24" name="Freeform: Shape 23">
              <a:extLst>
                <a:ext uri="{FF2B5EF4-FFF2-40B4-BE49-F238E27FC236}">
                  <a16:creationId xmlns:a16="http://schemas.microsoft.com/office/drawing/2014/main" id="{342FEDB6-5432-4162-8648-3827572AF0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B9FE345E-092D-4A20-A43A-0F9258D969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Shape 25">
              <a:extLst>
                <a:ext uri="{FF2B5EF4-FFF2-40B4-BE49-F238E27FC236}">
                  <a16:creationId xmlns:a16="http://schemas.microsoft.com/office/drawing/2014/main" id="{7A313FCF-0EE7-4C6B-BAB3-EFC9451D3D2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0B9ECD02-BE1B-4347-8C2E-EEA690082F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aphicFrame>
        <p:nvGraphicFramePr>
          <p:cNvPr id="4" name="Espace réservé du contenu 3"/>
          <p:cNvGraphicFramePr>
            <a:graphicFrameLocks noGrp="1"/>
          </p:cNvGraphicFramePr>
          <p:nvPr>
            <p:ph idx="1"/>
            <p:extLst>
              <p:ext uri="{D42A27DB-BD31-4B8C-83A1-F6EECF244321}">
                <p14:modId xmlns:p14="http://schemas.microsoft.com/office/powerpoint/2010/main" val="1634845501"/>
              </p:ext>
            </p:extLst>
          </p:nvPr>
        </p:nvGraphicFramePr>
        <p:xfrm>
          <a:off x="175845" y="1016635"/>
          <a:ext cx="14208368" cy="7067805"/>
        </p:xfrm>
        <a:graphic>
          <a:graphicData uri="http://schemas.openxmlformats.org/drawingml/2006/table">
            <a:tbl>
              <a:tblPr firstRow="1" firstCol="1" bandRow="1"/>
              <a:tblGrid>
                <a:gridCol w="2162908">
                  <a:extLst>
                    <a:ext uri="{9D8B030D-6E8A-4147-A177-3AD203B41FA5}">
                      <a16:colId xmlns:a16="http://schemas.microsoft.com/office/drawing/2014/main" val="1794485031"/>
                    </a:ext>
                  </a:extLst>
                </a:gridCol>
                <a:gridCol w="1441938">
                  <a:extLst>
                    <a:ext uri="{9D8B030D-6E8A-4147-A177-3AD203B41FA5}">
                      <a16:colId xmlns:a16="http://schemas.microsoft.com/office/drawing/2014/main" val="3195075633"/>
                    </a:ext>
                  </a:extLst>
                </a:gridCol>
                <a:gridCol w="1215688">
                  <a:extLst>
                    <a:ext uri="{9D8B030D-6E8A-4147-A177-3AD203B41FA5}">
                      <a16:colId xmlns:a16="http://schemas.microsoft.com/office/drawing/2014/main" val="4211139677"/>
                    </a:ext>
                  </a:extLst>
                </a:gridCol>
                <a:gridCol w="1442947">
                  <a:extLst>
                    <a:ext uri="{9D8B030D-6E8A-4147-A177-3AD203B41FA5}">
                      <a16:colId xmlns:a16="http://schemas.microsoft.com/office/drawing/2014/main" val="616785281"/>
                    </a:ext>
                  </a:extLst>
                </a:gridCol>
                <a:gridCol w="1255701">
                  <a:extLst>
                    <a:ext uri="{9D8B030D-6E8A-4147-A177-3AD203B41FA5}">
                      <a16:colId xmlns:a16="http://schemas.microsoft.com/office/drawing/2014/main" val="750858815"/>
                    </a:ext>
                  </a:extLst>
                </a:gridCol>
                <a:gridCol w="1103076">
                  <a:extLst>
                    <a:ext uri="{9D8B030D-6E8A-4147-A177-3AD203B41FA5}">
                      <a16:colId xmlns:a16="http://schemas.microsoft.com/office/drawing/2014/main" val="2201223691"/>
                    </a:ext>
                  </a:extLst>
                </a:gridCol>
                <a:gridCol w="1243092">
                  <a:extLst>
                    <a:ext uri="{9D8B030D-6E8A-4147-A177-3AD203B41FA5}">
                      <a16:colId xmlns:a16="http://schemas.microsoft.com/office/drawing/2014/main" val="856253472"/>
                    </a:ext>
                  </a:extLst>
                </a:gridCol>
                <a:gridCol w="1423973">
                  <a:extLst>
                    <a:ext uri="{9D8B030D-6E8A-4147-A177-3AD203B41FA5}">
                      <a16:colId xmlns:a16="http://schemas.microsoft.com/office/drawing/2014/main" val="4084893127"/>
                    </a:ext>
                  </a:extLst>
                </a:gridCol>
                <a:gridCol w="1392702">
                  <a:extLst>
                    <a:ext uri="{9D8B030D-6E8A-4147-A177-3AD203B41FA5}">
                      <a16:colId xmlns:a16="http://schemas.microsoft.com/office/drawing/2014/main" val="344357993"/>
                    </a:ext>
                  </a:extLst>
                </a:gridCol>
                <a:gridCol w="1526343">
                  <a:extLst>
                    <a:ext uri="{9D8B030D-6E8A-4147-A177-3AD203B41FA5}">
                      <a16:colId xmlns:a16="http://schemas.microsoft.com/office/drawing/2014/main" val="2615121287"/>
                    </a:ext>
                  </a:extLst>
                </a:gridCol>
              </a:tblGrid>
              <a:tr h="1724520">
                <a:tc>
                  <a:txBody>
                    <a:bodyPr/>
                    <a:lstStyle/>
                    <a:p>
                      <a:pPr marL="0" marR="0">
                        <a:lnSpc>
                          <a:spcPct val="107000"/>
                        </a:lnSpc>
                        <a:spcBef>
                          <a:spcPts val="0"/>
                        </a:spcBef>
                        <a:spcAft>
                          <a:spcPts val="0"/>
                        </a:spcAft>
                      </a:pPr>
                      <a:r>
                        <a:rPr lang="fr-FR"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Interventions/</a:t>
                      </a:r>
                      <a:r>
                        <a:rPr lang="fr-FR" sz="1600" b="1" dirty="0" err="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year</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fr-FR" sz="1600" b="1" dirty="0" err="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Targets</a:t>
                      </a:r>
                      <a:r>
                        <a:rPr lang="fr-FR"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of the pilot</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Targeted sample size of pilot</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en-GB" sz="1600" b="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Number of actual Recipients </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fr-FR" sz="1600" b="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Implemented budget (XOF)</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en-GB" sz="1600" b="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Cost per adolescent using initial sample targeted</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en-GB" sz="1600" b="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Cost per recipient </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en-GB" sz="1600" b="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Total number of adolescents in Senegal in 2022</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r>
                        <a:rPr lang="en-GB" sz="1600" b="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Total estimated budget for scaling up</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0" marR="0">
                        <a:lnSpc>
                          <a:spcPct val="107000"/>
                        </a:lnSpc>
                        <a:spcBef>
                          <a:spcPts val="0"/>
                        </a:spcBef>
                        <a:spcAft>
                          <a:spcPts val="0"/>
                        </a:spcAft>
                      </a:pPr>
                      <a:endPar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nSpc>
                          <a:spcPct val="107000"/>
                        </a:lnSpc>
                        <a:spcBef>
                          <a:spcPts val="0"/>
                        </a:spcBef>
                        <a:spcAft>
                          <a:spcPts val="0"/>
                        </a:spcAft>
                      </a:pPr>
                      <a:endPar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nSpc>
                          <a:spcPct val="107000"/>
                        </a:lnSpc>
                        <a:spcBef>
                          <a:spcPts val="0"/>
                        </a:spcBef>
                        <a:spcAft>
                          <a:spcPts val="0"/>
                        </a:spcAft>
                      </a:pPr>
                      <a:endPar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nSpc>
                          <a:spcPct val="107000"/>
                        </a:lnSpc>
                        <a:spcBef>
                          <a:spcPts val="0"/>
                        </a:spcBef>
                        <a:spcAft>
                          <a:spcPts val="0"/>
                        </a:spcAft>
                      </a:pPr>
                      <a:endPar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nSpc>
                          <a:spcPct val="107000"/>
                        </a:lnSpc>
                        <a:spcBef>
                          <a:spcPts val="0"/>
                        </a:spcBef>
                        <a:spcAft>
                          <a:spcPts val="0"/>
                        </a:spcAft>
                      </a:pPr>
                      <a:endPar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nSpc>
                          <a:spcPct val="107000"/>
                        </a:lnSpc>
                        <a:spcBef>
                          <a:spcPts val="0"/>
                        </a:spcBef>
                        <a:spcAft>
                          <a:spcPts val="0"/>
                        </a:spcAft>
                      </a:pPr>
                      <a:endPar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nSpc>
                          <a:spcPct val="107000"/>
                        </a:lnSpc>
                        <a:spcBef>
                          <a:spcPts val="0"/>
                        </a:spcBef>
                        <a:spcAft>
                          <a:spcPts val="0"/>
                        </a:spcAft>
                      </a:pPr>
                      <a:r>
                        <a:rPr lang="en-GB" sz="1600" b="1"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Site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369873532"/>
                  </a:ext>
                </a:extLst>
              </a:tr>
              <a:tr h="1159300">
                <a:tc>
                  <a:txBody>
                    <a:bodyPr/>
                    <a:lstStyle/>
                    <a:p>
                      <a:pPr marL="0" marR="0">
                        <a:lnSpc>
                          <a:spcPct val="107000"/>
                        </a:lnSpc>
                        <a:spcBef>
                          <a:spcPts val="0"/>
                        </a:spcBef>
                        <a:spcAft>
                          <a:spcPts val="0"/>
                        </a:spcAft>
                      </a:pPr>
                      <a:r>
                        <a:rPr lang="en-GB"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Promoting family life education clubs (EVF) by GEEP/202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en-GB" sz="160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Teenagers aged 15-19 Yrs from school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endPar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74,573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202,488</a:t>
                      </a: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p>
                    <a:p>
                      <a:pPr marL="0" marR="0" algn="l">
                        <a:lnSpc>
                          <a:spcPct val="100000"/>
                        </a:lnSpc>
                        <a:spcBef>
                          <a:spcPts val="0"/>
                        </a:spcBef>
                        <a:spcAft>
                          <a:spcPts val="0"/>
                        </a:spcAft>
                      </a:pPr>
                      <a:endPar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74,721,143</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122,494)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428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369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1,824,000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p>
                    <a:p>
                      <a:pPr marL="0" marR="0" algn="l">
                        <a:lnSpc>
                          <a:spcPct val="100000"/>
                        </a:lnSpc>
                        <a:spcBef>
                          <a:spcPts val="0"/>
                        </a:spcBef>
                        <a:spcAft>
                          <a:spcPts val="0"/>
                        </a:spcAft>
                      </a:pPr>
                      <a:endPar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673,083,663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1,103,416)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l">
                        <a:lnSpc>
                          <a:spcPct val="100000"/>
                        </a:lnSpc>
                        <a:spcBef>
                          <a:spcPts val="0"/>
                        </a:spcBef>
                        <a:spcAft>
                          <a:spcPts val="0"/>
                        </a:spcAft>
                      </a:pPr>
                      <a:r>
                        <a:rPr lang="fr-FR" sz="160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46 département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608951416"/>
                  </a:ext>
                </a:extLst>
              </a:tr>
              <a:tr h="1228315">
                <a:tc>
                  <a:txBody>
                    <a:bodyPr/>
                    <a:lstStyle/>
                    <a:p>
                      <a:pPr marL="0" marR="0">
                        <a:lnSpc>
                          <a:spcPct val="107000"/>
                        </a:lnSpc>
                        <a:spcBef>
                          <a:spcPts val="0"/>
                        </a:spcBef>
                        <a:spcAft>
                          <a:spcPts val="0"/>
                        </a:spcAft>
                      </a:pPr>
                      <a:r>
                        <a:rPr lang="en-GB"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Project for girls education by CNEPSCOFI/2015-2016/prevention of early marriages</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nSpc>
                          <a:spcPct val="107000"/>
                        </a:lnSpc>
                        <a:spcBef>
                          <a:spcPts val="0"/>
                        </a:spcBef>
                        <a:spcAft>
                          <a:spcPts val="0"/>
                        </a:spcAft>
                      </a:pPr>
                      <a:r>
                        <a:rPr lang="fr-FR" sz="160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Adolescents 10-19 Yrs school girl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2,400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2,400</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45,315,000</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74,287)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8,881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8,88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546,173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3 départements (Mbacké, Linguère et </a:t>
                      </a:r>
                      <a:r>
                        <a:rPr lang="fr-FR" sz="1600" dirty="0" err="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Foundiougne</a:t>
                      </a: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375124644"/>
                  </a:ext>
                </a:extLst>
              </a:tr>
              <a:tr h="1449125">
                <a:tc>
                  <a:txBody>
                    <a:bodyPr/>
                    <a:lstStyle/>
                    <a:p>
                      <a:pPr marL="0" marR="0">
                        <a:lnSpc>
                          <a:spcPct val="107000"/>
                        </a:lnSpc>
                        <a:spcBef>
                          <a:spcPts val="0"/>
                        </a:spcBef>
                        <a:spcAft>
                          <a:spcPts val="0"/>
                        </a:spcAft>
                      </a:pPr>
                      <a:r>
                        <a:rPr lang="en-GB"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Adolescent and youth spaces in </a:t>
                      </a:r>
                      <a:r>
                        <a:rPr lang="en-GB" sz="1600" dirty="0" err="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Nioro</a:t>
                      </a:r>
                      <a:r>
                        <a:rPr lang="en-GB"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by the </a:t>
                      </a:r>
                      <a:r>
                        <a:rPr lang="en-GB" sz="1600" dirty="0" err="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MoH</a:t>
                      </a:r>
                      <a:r>
                        <a:rPr lang="en-GB"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promoting health of AY/202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nSpc>
                          <a:spcPct val="107000"/>
                        </a:lnSpc>
                        <a:spcBef>
                          <a:spcPts val="0"/>
                        </a:spcBef>
                        <a:spcAft>
                          <a:spcPts val="0"/>
                        </a:spcAft>
                      </a:pPr>
                      <a:r>
                        <a:rPr lang="fr-FR" sz="160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Adolescents and Youth (10-24 yr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11,528</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46118" marR="4611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12,107,750</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19,849)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46118" marR="4611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050</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80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0,934,096</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800"/>
                        </a:spcAft>
                      </a:pPr>
                      <a:endPar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gn="l">
                        <a:lnSpc>
                          <a:spcPct val="100000"/>
                        </a:lnSpc>
                        <a:spcBef>
                          <a:spcPts val="0"/>
                        </a:spcBef>
                        <a:spcAft>
                          <a:spcPts val="80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5,741,989,106</a:t>
                      </a:r>
                    </a:p>
                    <a:p>
                      <a:pPr marL="0" marR="0" lvl="0" indent="0" algn="l" defTabSz="914400" rtl="0" eaLnBrk="1" fontAlgn="auto" latinLnBrk="0" hangingPunct="1">
                        <a:lnSpc>
                          <a:spcPct val="100000"/>
                        </a:lnSpc>
                        <a:spcBef>
                          <a:spcPts val="0"/>
                        </a:spcBef>
                        <a:spcAft>
                          <a:spcPts val="80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9,413,097)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80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 </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l">
                        <a:lnSpc>
                          <a:spcPct val="100000"/>
                        </a:lnSpc>
                        <a:spcBef>
                          <a:spcPts val="0"/>
                        </a:spcBef>
                        <a:spcAft>
                          <a:spcPts val="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Communes de Nioro et </a:t>
                      </a:r>
                      <a:r>
                        <a:rPr lang="fr-FR" sz="1600" dirty="0" err="1">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Popenguine</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7482437"/>
                  </a:ext>
                </a:extLst>
              </a:tr>
              <a:tr h="1159300">
                <a:tc>
                  <a:txBody>
                    <a:bodyPr/>
                    <a:lstStyle/>
                    <a:p>
                      <a:pPr marL="0" marR="0">
                        <a:lnSpc>
                          <a:spcPct val="107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Adolescent and youth spaces in </a:t>
                      </a:r>
                      <a:r>
                        <a:rPr lang="en-GB" sz="1600" dirty="0" err="1">
                          <a:effectLst/>
                          <a:latin typeface="Times New Roman" panose="02020603050405020304" pitchFamily="18" charset="0"/>
                          <a:ea typeface="Calibri" panose="020F0502020204030204" pitchFamily="34" charset="0"/>
                          <a:cs typeface="Calibri" panose="020F0502020204030204" pitchFamily="34" charset="0"/>
                        </a:rPr>
                        <a:t>Popenguine</a:t>
                      </a:r>
                      <a:r>
                        <a:rPr lang="en-GB" sz="1600" dirty="0">
                          <a:effectLst/>
                          <a:latin typeface="Times New Roman" panose="02020603050405020304" pitchFamily="18" charset="0"/>
                          <a:ea typeface="Calibri" panose="020F0502020204030204" pitchFamily="34" charset="0"/>
                          <a:cs typeface="Calibri" panose="020F0502020204030204" pitchFamily="34" charset="0"/>
                        </a:rPr>
                        <a:t> by the </a:t>
                      </a:r>
                      <a:r>
                        <a:rPr lang="en-GB" sz="1600" dirty="0" err="1">
                          <a:effectLst/>
                          <a:latin typeface="Times New Roman" panose="02020603050405020304" pitchFamily="18" charset="0"/>
                          <a:ea typeface="Calibri" panose="020F0502020204030204" pitchFamily="34" charset="0"/>
                          <a:cs typeface="Calibri" panose="020F0502020204030204" pitchFamily="34" charset="0"/>
                        </a:rPr>
                        <a:t>Moh</a:t>
                      </a:r>
                      <a:r>
                        <a:rPr lang="en-GB" sz="1600" dirty="0">
                          <a:effectLst/>
                          <a:latin typeface="Times New Roman" panose="02020603050405020304" pitchFamily="18" charset="0"/>
                          <a:ea typeface="Calibri" panose="020F0502020204030204" pitchFamily="34" charset="0"/>
                          <a:cs typeface="Calibri" panose="020F0502020204030204" pitchFamily="34" charset="0"/>
                        </a:rPr>
                        <a:t>/ promoting health of AY/202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nSpc>
                          <a:spcPct val="107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Adolescents and Youth (10-24 </a:t>
                      </a:r>
                      <a:r>
                        <a:rPr lang="en-GB" sz="1600" dirty="0" err="1">
                          <a:effectLst/>
                          <a:latin typeface="Times New Roman" panose="02020603050405020304" pitchFamily="18" charset="0"/>
                          <a:ea typeface="Calibri" panose="020F0502020204030204" pitchFamily="34" charset="0"/>
                          <a:cs typeface="Calibri" panose="020F0502020204030204" pitchFamily="34" charset="0"/>
                        </a:rPr>
                        <a:t>yrs</a:t>
                      </a:r>
                      <a:r>
                        <a:rPr lang="en-GB" sz="1600" dirty="0">
                          <a:effectLst/>
                          <a:latin typeface="Times New Roman" panose="02020603050405020304" pitchFamily="18" charset="0"/>
                          <a:ea typeface="Calibri" panose="020F0502020204030204" pitchFamily="34" charset="0"/>
                          <a:cs typeface="Calibri" panose="020F0502020204030204" pitchFamily="34" charset="0"/>
                        </a:rPr>
                        <a:t>)</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4,949</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46118" marR="4611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11,290,000</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18,508)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46118" marR="4611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GB" sz="1600" dirty="0">
                        <a:effectLst/>
                        <a:latin typeface="Times New Roman" panose="02020603050405020304" pitchFamily="18"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r>
                        <a:rPr lang="en-GB" sz="1600" dirty="0">
                          <a:effectLst/>
                          <a:latin typeface="Times New Roman" panose="02020603050405020304" pitchFamily="18" charset="0"/>
                          <a:ea typeface="Calibri" panose="020F0502020204030204" pitchFamily="34" charset="0"/>
                          <a:cs typeface="Calibri" panose="020F0502020204030204" pitchFamily="34" charset="0"/>
                        </a:rPr>
                        <a:t>2,281</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800"/>
                        </a:spcAft>
                      </a:pPr>
                      <a:endPar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endParaRPr>
                    </a:p>
                    <a:p>
                      <a:pPr marL="0" marR="0" algn="l">
                        <a:lnSpc>
                          <a:spcPct val="100000"/>
                        </a:lnSpc>
                        <a:spcBef>
                          <a:spcPts val="0"/>
                        </a:spcBef>
                        <a:spcAft>
                          <a:spcPts val="800"/>
                        </a:spcAft>
                      </a:pPr>
                      <a:r>
                        <a:rPr lang="fr-FR" sz="1600" dirty="0">
                          <a:solidFill>
                            <a:srgbClr val="000000"/>
                          </a:solidFill>
                          <a:effectLst/>
                          <a:latin typeface="Times New Roman" panose="02020603050405020304" pitchFamily="18" charset="0"/>
                          <a:ea typeface="Times New Roman" panose="02020603050405020304" pitchFamily="18" charset="0"/>
                          <a:cs typeface="Calibri" panose="020F0502020204030204" pitchFamily="34" charset="0"/>
                        </a:rPr>
                        <a:t>10,934,096</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2"/>
                    </a:solidFill>
                  </a:tcPr>
                </a:tc>
                <a:tc>
                  <a:txBody>
                    <a:bodyPr/>
                    <a:lstStyle/>
                    <a:p>
                      <a:pPr marL="0" marR="0" algn="l">
                        <a:lnSpc>
                          <a:spcPct val="100000"/>
                        </a:lnSpc>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12,471,806,813</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solidFill>
                            <a:srgbClr val="C00000"/>
                          </a:solidFill>
                          <a:effectLst/>
                          <a:latin typeface="Times New Roman" panose="02020603050405020304" pitchFamily="18" charset="0"/>
                          <a:ea typeface="Times New Roman" panose="02020603050405020304" pitchFamily="18" charset="0"/>
                          <a:cs typeface="Calibri" panose="020F0502020204030204" pitchFamily="34" charset="0"/>
                        </a:rPr>
                        <a:t>($20,445,585) </a:t>
                      </a:r>
                      <a:endParaRPr lang="en-US" sz="1600" dirty="0">
                        <a:solidFill>
                          <a:srgbClr val="C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0000"/>
                        </a:lnSpc>
                        <a:spcBef>
                          <a:spcPts val="0"/>
                        </a:spcBef>
                        <a:spcAft>
                          <a:spcPts val="0"/>
                        </a:spcAft>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l">
                        <a:lnSpc>
                          <a:spcPct val="100000"/>
                        </a:lnSpc>
                        <a:spcBef>
                          <a:spcPts val="0"/>
                        </a:spcBef>
                        <a:spcAft>
                          <a:spcPts val="0"/>
                        </a:spcAft>
                      </a:pPr>
                      <a:r>
                        <a:rPr lang="fr-FR" sz="1600" kern="1200" dirty="0">
                          <a:solidFill>
                            <a:schemeClr val="tx1"/>
                          </a:solidFill>
                          <a:effectLst/>
                          <a:latin typeface="+mn-lt"/>
                          <a:ea typeface="+mn-ea"/>
                          <a:cs typeface="+mn-cs"/>
                        </a:rPr>
                        <a:t>Communes de </a:t>
                      </a:r>
                      <a:r>
                        <a:rPr lang="fr-FR" sz="1600" kern="1200" dirty="0" err="1">
                          <a:solidFill>
                            <a:schemeClr val="tx1"/>
                          </a:solidFill>
                          <a:effectLst/>
                          <a:latin typeface="+mn-lt"/>
                          <a:ea typeface="+mn-ea"/>
                          <a:cs typeface="+mn-cs"/>
                        </a:rPr>
                        <a:t>Popenguine</a:t>
                      </a:r>
                      <a:endParaRPr lang="en-US" sz="1600" dirty="0">
                        <a:effectLst/>
                        <a:latin typeface="Calibri" panose="020F0502020204030204" pitchFamily="34" charset="0"/>
                        <a:ea typeface="Calibri" panose="020F0502020204030204" pitchFamily="34" charset="0"/>
                        <a:cs typeface="Calibri" panose="020F0502020204030204" pitchFamily="34" charset="0"/>
                      </a:endParaRPr>
                    </a:p>
                  </a:txBody>
                  <a:tcPr marL="29891" marR="298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74103311"/>
                  </a:ext>
                </a:extLst>
              </a:tr>
            </a:tbl>
          </a:graphicData>
        </a:graphic>
      </p:graphicFrame>
    </p:spTree>
    <p:extLst>
      <p:ext uri="{BB962C8B-B14F-4D97-AF65-F5344CB8AC3E}">
        <p14:creationId xmlns:p14="http://schemas.microsoft.com/office/powerpoint/2010/main" val="16879690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F63B6-655C-3D4A-87E7-C43EDD7D7717}"/>
              </a:ext>
            </a:extLst>
          </p:cNvPr>
          <p:cNvSpPr>
            <a:spLocks noGrp="1"/>
          </p:cNvSpPr>
          <p:nvPr>
            <p:ph type="title"/>
          </p:nvPr>
        </p:nvSpPr>
        <p:spPr>
          <a:xfrm>
            <a:off x="1005840" y="1272818"/>
            <a:ext cx="4093285" cy="3656682"/>
          </a:xfrm>
        </p:spPr>
        <p:txBody>
          <a:bodyPr anchor="t">
            <a:normAutofit/>
          </a:bodyPr>
          <a:lstStyle/>
          <a:p>
            <a:r>
              <a:rPr lang="en-GH" sz="3800" dirty="0"/>
              <a:t>Recommendations</a:t>
            </a:r>
          </a:p>
        </p:txBody>
      </p:sp>
      <p:sp>
        <p:nvSpPr>
          <p:cNvPr id="3" name="Content Placeholder 2">
            <a:extLst>
              <a:ext uri="{FF2B5EF4-FFF2-40B4-BE49-F238E27FC236}">
                <a16:creationId xmlns:a16="http://schemas.microsoft.com/office/drawing/2014/main" id="{9DF474E7-743B-8F4F-AC15-CA96C36BE618}"/>
              </a:ext>
            </a:extLst>
          </p:cNvPr>
          <p:cNvSpPr>
            <a:spLocks noGrp="1"/>
          </p:cNvSpPr>
          <p:nvPr>
            <p:ph idx="1"/>
          </p:nvPr>
        </p:nvSpPr>
        <p:spPr>
          <a:xfrm>
            <a:off x="6417704" y="1243011"/>
            <a:ext cx="6951761" cy="5935029"/>
          </a:xfrm>
        </p:spPr>
        <p:txBody>
          <a:bodyPr>
            <a:normAutofit fontScale="92500" lnSpcReduction="10000"/>
          </a:bodyPr>
          <a:lstStyle/>
          <a:p>
            <a:pPr marL="0" indent="0">
              <a:buNone/>
            </a:pPr>
            <a:r>
              <a:rPr lang="en-GB" sz="2800" b="1" dirty="0"/>
              <a:t>Service Delivery</a:t>
            </a:r>
          </a:p>
          <a:p>
            <a:r>
              <a:rPr lang="en-GB" sz="2800" dirty="0"/>
              <a:t>Promote inclusive multi-sector partnerships</a:t>
            </a:r>
          </a:p>
          <a:p>
            <a:pPr marL="0" indent="0">
              <a:buNone/>
            </a:pPr>
            <a:endParaRPr lang="en-GB" sz="2800" dirty="0"/>
          </a:p>
          <a:p>
            <a:r>
              <a:rPr lang="en-GB" sz="2800" dirty="0"/>
              <a:t>Encourage a participatory approach to optimize stakeholder buy-in and commitment</a:t>
            </a:r>
          </a:p>
          <a:p>
            <a:pPr marL="0" indent="0">
              <a:buNone/>
            </a:pPr>
            <a:endParaRPr lang="en-GB" sz="2800" dirty="0"/>
          </a:p>
          <a:p>
            <a:pPr marL="0" indent="0">
              <a:buNone/>
            </a:pPr>
            <a:r>
              <a:rPr lang="en-GB" sz="2800" b="1" dirty="0"/>
              <a:t>Research</a:t>
            </a:r>
          </a:p>
          <a:p>
            <a:r>
              <a:rPr lang="en-GB" sz="2800" dirty="0"/>
              <a:t>Economic evaluation: Disaggregate activity accounts for interventions to better capture each component's contribution to implementation</a:t>
            </a:r>
          </a:p>
          <a:p>
            <a:pPr marL="0" indent="0">
              <a:buNone/>
            </a:pPr>
            <a:endParaRPr lang="en-GB" sz="2800" dirty="0"/>
          </a:p>
          <a:p>
            <a:r>
              <a:rPr lang="en-GB" sz="2800" dirty="0"/>
              <a:t>Evaluate cost-effectiveness and efficiency to determine the performance of interventions</a:t>
            </a:r>
          </a:p>
          <a:p>
            <a:pPr marL="0" indent="0">
              <a:buNone/>
            </a:pPr>
            <a:endParaRPr lang="en-GH" sz="2400" dirty="0"/>
          </a:p>
        </p:txBody>
      </p:sp>
    </p:spTree>
    <p:extLst>
      <p:ext uri="{BB962C8B-B14F-4D97-AF65-F5344CB8AC3E}">
        <p14:creationId xmlns:p14="http://schemas.microsoft.com/office/powerpoint/2010/main" val="40865413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name="Slide 2">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F6F4F4"/>
          </a:solidFill>
          <a:ln/>
        </p:spPr>
      </p:sp>
      <p:sp>
        <p:nvSpPr>
          <p:cNvPr id="3" name="Shape 1"/>
          <p:cNvSpPr/>
          <p:nvPr/>
        </p:nvSpPr>
        <p:spPr>
          <a:xfrm>
            <a:off x="152400" y="800816"/>
            <a:ext cx="9777046" cy="6907237"/>
          </a:xfrm>
          <a:prstGeom prst="rect">
            <a:avLst/>
          </a:prstGeom>
          <a:solidFill>
            <a:srgbClr val="FFFFFF"/>
          </a:solidFill>
          <a:ln w="7620">
            <a:solidFill>
              <a:srgbClr val="E5E0DF"/>
            </a:solidFill>
            <a:prstDash val="solid"/>
          </a:ln>
        </p:spPr>
      </p:sp>
      <p:sp>
        <p:nvSpPr>
          <p:cNvPr id="5" name="Text 3"/>
          <p:cNvSpPr/>
          <p:nvPr/>
        </p:nvSpPr>
        <p:spPr>
          <a:xfrm>
            <a:off x="368967" y="4480560"/>
            <a:ext cx="8789102" cy="2201594"/>
          </a:xfrm>
          <a:prstGeom prst="rect">
            <a:avLst/>
          </a:prstGeom>
          <a:noFill/>
          <a:ln/>
        </p:spPr>
        <p:txBody>
          <a:bodyPr wrap="square" rtlCol="0" anchor="t"/>
          <a:lstStyle/>
          <a:p>
            <a:pPr marL="0" indent="0">
              <a:lnSpc>
                <a:spcPts val="3149"/>
              </a:lnSpc>
              <a:buNone/>
            </a:pPr>
            <a:r>
              <a:rPr lang="en-US" sz="3600" b="1" kern="0" spc="-35" dirty="0">
                <a:solidFill>
                  <a:srgbClr val="272525"/>
                </a:solidFill>
                <a:latin typeface="Inter" pitchFamily="34" charset="0"/>
                <a:ea typeface="Inter" pitchFamily="34" charset="-122"/>
                <a:cs typeface="Inter" pitchFamily="34" charset="-120"/>
              </a:rPr>
              <a:t>Stakeholder Perspectives on Funding Gaps and Resource Mobilisation Strategies for Adolescent Sexual and Reproductive Health Interventions in Ghana. </a:t>
            </a:r>
            <a:endParaRPr lang="en-US" sz="3600"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50BF60-BE22-D845-B56E-4C4337772271}"/>
              </a:ext>
            </a:extLst>
          </p:cNvPr>
          <p:cNvSpPr>
            <a:spLocks noGrp="1"/>
          </p:cNvSpPr>
          <p:nvPr>
            <p:ph type="title"/>
          </p:nvPr>
        </p:nvSpPr>
        <p:spPr/>
        <p:txBody>
          <a:bodyPr/>
          <a:lstStyle/>
          <a:p>
            <a:r>
              <a:rPr lang="en-GH" dirty="0"/>
              <a:t>Objective 3</a:t>
            </a:r>
          </a:p>
        </p:txBody>
      </p:sp>
      <p:graphicFrame>
        <p:nvGraphicFramePr>
          <p:cNvPr id="8" name="Rectangle: Rounded Corners 50">
            <a:extLst>
              <a:ext uri="{FF2B5EF4-FFF2-40B4-BE49-F238E27FC236}">
                <a16:creationId xmlns:a16="http://schemas.microsoft.com/office/drawing/2014/main" id="{3896ECA8-1110-3044-5F70-32CE3D39B6BB}"/>
              </a:ext>
            </a:extLst>
          </p:cNvPr>
          <p:cNvGraphicFramePr>
            <a:graphicFrameLocks noGrp="1"/>
          </p:cNvGraphicFramePr>
          <p:nvPr>
            <p:ph idx="1"/>
          </p:nvPr>
        </p:nvGraphicFramePr>
        <p:xfrm>
          <a:off x="360045" y="1565910"/>
          <a:ext cx="13954122" cy="58750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68307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6169B-4A83-4D92-8A7C-839AD3958211}"/>
              </a:ext>
            </a:extLst>
          </p:cNvPr>
          <p:cNvSpPr>
            <a:spLocks noGrp="1"/>
          </p:cNvSpPr>
          <p:nvPr>
            <p:ph type="title"/>
          </p:nvPr>
        </p:nvSpPr>
        <p:spPr>
          <a:xfrm>
            <a:off x="360046" y="336328"/>
            <a:ext cx="14270354" cy="1229582"/>
          </a:xfrm>
        </p:spPr>
        <p:txBody>
          <a:bodyPr/>
          <a:lstStyle/>
          <a:p>
            <a:r>
              <a:rPr lang="en-ZA" sz="2880" dirty="0">
                <a:solidFill>
                  <a:schemeClr val="accent1">
                    <a:lumMod val="50000"/>
                  </a:schemeClr>
                </a:solidFill>
              </a:rPr>
              <a:t>Domestic Government expenditure on reproductive health, ECOWAS (2018)</a:t>
            </a:r>
          </a:p>
        </p:txBody>
      </p:sp>
      <p:graphicFrame>
        <p:nvGraphicFramePr>
          <p:cNvPr id="6" name="Content Placeholder 5">
            <a:extLst>
              <a:ext uri="{FF2B5EF4-FFF2-40B4-BE49-F238E27FC236}">
                <a16:creationId xmlns:a16="http://schemas.microsoft.com/office/drawing/2014/main" id="{AD3C020F-6948-4CF7-98B7-411297478408}"/>
              </a:ext>
            </a:extLst>
          </p:cNvPr>
          <p:cNvGraphicFramePr>
            <a:graphicFrameLocks noGrp="1"/>
          </p:cNvGraphicFramePr>
          <p:nvPr>
            <p:ph idx="1"/>
          </p:nvPr>
        </p:nvGraphicFramePr>
        <p:xfrm>
          <a:off x="181738" y="1696863"/>
          <a:ext cx="4646294" cy="5838750"/>
        </p:xfrm>
        <a:graphic>
          <a:graphicData uri="http://schemas.openxmlformats.org/drawingml/2006/table">
            <a:tbl>
              <a:tblPr>
                <a:tableStyleId>{5C22544A-7EE6-4342-B048-85BDC9FD1C3A}</a:tableStyleId>
              </a:tblPr>
              <a:tblGrid>
                <a:gridCol w="3200066">
                  <a:extLst>
                    <a:ext uri="{9D8B030D-6E8A-4147-A177-3AD203B41FA5}">
                      <a16:colId xmlns:a16="http://schemas.microsoft.com/office/drawing/2014/main" val="1193470982"/>
                    </a:ext>
                  </a:extLst>
                </a:gridCol>
                <a:gridCol w="1446228">
                  <a:extLst>
                    <a:ext uri="{9D8B030D-6E8A-4147-A177-3AD203B41FA5}">
                      <a16:colId xmlns:a16="http://schemas.microsoft.com/office/drawing/2014/main" val="1143560264"/>
                    </a:ext>
                  </a:extLst>
                </a:gridCol>
              </a:tblGrid>
              <a:tr h="389250">
                <a:tc>
                  <a:txBody>
                    <a:bodyPr/>
                    <a:lstStyle/>
                    <a:p>
                      <a:pPr algn="l" fontAlgn="b"/>
                      <a:r>
                        <a:rPr lang="en-ZA" sz="2400" b="0" i="0" u="none" strike="noStrike">
                          <a:effectLst/>
                          <a:latin typeface="Arial" panose="020B0604020202020204" pitchFamily="34" charset="0"/>
                        </a:rPr>
                        <a:t>Benin</a:t>
                      </a:r>
                    </a:p>
                  </a:txBody>
                  <a:tcPr marL="11430" marR="11430" marT="11430" marB="0" anchor="b"/>
                </a:tc>
                <a:tc>
                  <a:txBody>
                    <a:bodyPr/>
                    <a:lstStyle/>
                    <a:p>
                      <a:pPr algn="r" fontAlgn="b"/>
                      <a:r>
                        <a:rPr lang="en-ZA" sz="2400" b="0" i="0" u="none" strike="noStrike">
                          <a:effectLst/>
                          <a:latin typeface="Arial" panose="020B0604020202020204" pitchFamily="34" charset="0"/>
                        </a:rPr>
                        <a:t>3.25%</a:t>
                      </a:r>
                    </a:p>
                  </a:txBody>
                  <a:tcPr marL="11430" marR="11430" marT="11430" marB="0" anchor="b"/>
                </a:tc>
                <a:extLst>
                  <a:ext uri="{0D108BD9-81ED-4DB2-BD59-A6C34878D82A}">
                    <a16:rowId xmlns:a16="http://schemas.microsoft.com/office/drawing/2014/main" val="2885556498"/>
                  </a:ext>
                </a:extLst>
              </a:tr>
              <a:tr h="389250">
                <a:tc>
                  <a:txBody>
                    <a:bodyPr/>
                    <a:lstStyle/>
                    <a:p>
                      <a:pPr algn="l" fontAlgn="b"/>
                      <a:r>
                        <a:rPr lang="en-ZA" sz="2400" b="0" i="0" u="none" strike="noStrike">
                          <a:effectLst/>
                          <a:latin typeface="Arial" panose="020B0604020202020204" pitchFamily="34" charset="0"/>
                        </a:rPr>
                        <a:t>Burkina Faso</a:t>
                      </a:r>
                    </a:p>
                  </a:txBody>
                  <a:tcPr marL="11430" marR="11430" marT="11430" marB="0" anchor="b"/>
                </a:tc>
                <a:tc>
                  <a:txBody>
                    <a:bodyPr/>
                    <a:lstStyle/>
                    <a:p>
                      <a:pPr algn="r" fontAlgn="b"/>
                      <a:r>
                        <a:rPr lang="en-ZA" sz="2400" b="0" i="0" u="none" strike="noStrike">
                          <a:effectLst/>
                          <a:latin typeface="Arial" panose="020B0604020202020204" pitchFamily="34" charset="0"/>
                        </a:rPr>
                        <a:t>10.03%</a:t>
                      </a:r>
                    </a:p>
                  </a:txBody>
                  <a:tcPr marL="11430" marR="11430" marT="11430" marB="0" anchor="b"/>
                </a:tc>
                <a:extLst>
                  <a:ext uri="{0D108BD9-81ED-4DB2-BD59-A6C34878D82A}">
                    <a16:rowId xmlns:a16="http://schemas.microsoft.com/office/drawing/2014/main" val="688903291"/>
                  </a:ext>
                </a:extLst>
              </a:tr>
              <a:tr h="389250">
                <a:tc>
                  <a:txBody>
                    <a:bodyPr/>
                    <a:lstStyle/>
                    <a:p>
                      <a:pPr algn="l" fontAlgn="b"/>
                      <a:r>
                        <a:rPr lang="en-ZA" sz="2400" b="0" i="0" u="none" strike="noStrike" dirty="0">
                          <a:effectLst/>
                          <a:latin typeface="Arial" panose="020B0604020202020204" pitchFamily="34" charset="0"/>
                        </a:rPr>
                        <a:t>Cabo Verde</a:t>
                      </a:r>
                    </a:p>
                  </a:txBody>
                  <a:tcPr marL="11430" marR="11430" marT="11430" marB="0" anchor="b"/>
                </a:tc>
                <a:tc>
                  <a:txBody>
                    <a:bodyPr/>
                    <a:lstStyle/>
                    <a:p>
                      <a:pPr algn="r" fontAlgn="b"/>
                      <a:r>
                        <a:rPr lang="en-ZA" sz="2400" b="0" i="0" u="none" strike="noStrike">
                          <a:effectLst/>
                          <a:latin typeface="Arial" panose="020B0604020202020204" pitchFamily="34" charset="0"/>
                        </a:rPr>
                        <a:t>21.29%</a:t>
                      </a:r>
                    </a:p>
                  </a:txBody>
                  <a:tcPr marL="11430" marR="11430" marT="11430" marB="0" anchor="b"/>
                </a:tc>
                <a:extLst>
                  <a:ext uri="{0D108BD9-81ED-4DB2-BD59-A6C34878D82A}">
                    <a16:rowId xmlns:a16="http://schemas.microsoft.com/office/drawing/2014/main" val="1443188333"/>
                  </a:ext>
                </a:extLst>
              </a:tr>
              <a:tr h="389250">
                <a:tc>
                  <a:txBody>
                    <a:bodyPr/>
                    <a:lstStyle/>
                    <a:p>
                      <a:pPr algn="l" fontAlgn="b"/>
                      <a:r>
                        <a:rPr lang="en-ZA" sz="2400" b="0" i="0" u="none" strike="noStrike">
                          <a:effectLst/>
                          <a:latin typeface="Arial" panose="020B0604020202020204" pitchFamily="34" charset="0"/>
                        </a:rPr>
                        <a:t>Côte d'Ivoire</a:t>
                      </a:r>
                    </a:p>
                  </a:txBody>
                  <a:tcPr marL="11430" marR="11430" marT="11430" marB="0" anchor="b"/>
                </a:tc>
                <a:tc>
                  <a:txBody>
                    <a:bodyPr/>
                    <a:lstStyle/>
                    <a:p>
                      <a:pPr algn="r" fontAlgn="b"/>
                      <a:r>
                        <a:rPr lang="en-ZA" sz="2400" b="0" i="0" u="none" strike="noStrike">
                          <a:effectLst/>
                          <a:latin typeface="Arial" panose="020B0604020202020204" pitchFamily="34" charset="0"/>
                        </a:rPr>
                        <a:t>6.87%</a:t>
                      </a:r>
                    </a:p>
                  </a:txBody>
                  <a:tcPr marL="11430" marR="11430" marT="11430" marB="0" anchor="b"/>
                </a:tc>
                <a:extLst>
                  <a:ext uri="{0D108BD9-81ED-4DB2-BD59-A6C34878D82A}">
                    <a16:rowId xmlns:a16="http://schemas.microsoft.com/office/drawing/2014/main" val="2180032725"/>
                  </a:ext>
                </a:extLst>
              </a:tr>
              <a:tr h="389250">
                <a:tc>
                  <a:txBody>
                    <a:bodyPr/>
                    <a:lstStyle/>
                    <a:p>
                      <a:pPr algn="l" fontAlgn="b"/>
                      <a:r>
                        <a:rPr lang="en-ZA" sz="2400" b="0" i="0" u="none" strike="noStrike">
                          <a:effectLst/>
                          <a:latin typeface="Arial" panose="020B0604020202020204" pitchFamily="34" charset="0"/>
                        </a:rPr>
                        <a:t>Gambia</a:t>
                      </a:r>
                    </a:p>
                  </a:txBody>
                  <a:tcPr marL="11430" marR="11430" marT="11430" marB="0" anchor="b"/>
                </a:tc>
                <a:tc>
                  <a:txBody>
                    <a:bodyPr/>
                    <a:lstStyle/>
                    <a:p>
                      <a:pPr algn="r" fontAlgn="b"/>
                      <a:r>
                        <a:rPr lang="en-ZA" sz="2400" b="0" i="0" u="none" strike="noStrike" dirty="0">
                          <a:effectLst/>
                          <a:latin typeface="Arial" panose="020B0604020202020204" pitchFamily="34" charset="0"/>
                        </a:rPr>
                        <a:t>No data</a:t>
                      </a:r>
                    </a:p>
                  </a:txBody>
                  <a:tcPr marL="11430" marR="11430" marT="11430" marB="0" anchor="b"/>
                </a:tc>
                <a:extLst>
                  <a:ext uri="{0D108BD9-81ED-4DB2-BD59-A6C34878D82A}">
                    <a16:rowId xmlns:a16="http://schemas.microsoft.com/office/drawing/2014/main" val="1764112419"/>
                  </a:ext>
                </a:extLst>
              </a:tr>
              <a:tr h="389250">
                <a:tc>
                  <a:txBody>
                    <a:bodyPr/>
                    <a:lstStyle/>
                    <a:p>
                      <a:pPr algn="l" fontAlgn="b"/>
                      <a:r>
                        <a:rPr lang="en-ZA" sz="2400" b="0" i="0" u="none" strike="noStrike">
                          <a:effectLst/>
                          <a:latin typeface="Arial" panose="020B0604020202020204" pitchFamily="34" charset="0"/>
                        </a:rPr>
                        <a:t>Ghana</a:t>
                      </a:r>
                    </a:p>
                  </a:txBody>
                  <a:tcPr marL="11430" marR="11430" marT="11430" marB="0" anchor="b"/>
                </a:tc>
                <a:tc>
                  <a:txBody>
                    <a:bodyPr/>
                    <a:lstStyle/>
                    <a:p>
                      <a:pPr algn="r" fontAlgn="b"/>
                      <a:r>
                        <a:rPr lang="en-ZA" sz="2400" b="0" i="0" u="none" strike="noStrike">
                          <a:effectLst/>
                          <a:latin typeface="Arial" panose="020B0604020202020204" pitchFamily="34" charset="0"/>
                        </a:rPr>
                        <a:t>3.36%</a:t>
                      </a:r>
                    </a:p>
                  </a:txBody>
                  <a:tcPr marL="11430" marR="11430" marT="11430" marB="0" anchor="b"/>
                </a:tc>
                <a:extLst>
                  <a:ext uri="{0D108BD9-81ED-4DB2-BD59-A6C34878D82A}">
                    <a16:rowId xmlns:a16="http://schemas.microsoft.com/office/drawing/2014/main" val="2132937869"/>
                  </a:ext>
                </a:extLst>
              </a:tr>
              <a:tr h="389250">
                <a:tc>
                  <a:txBody>
                    <a:bodyPr/>
                    <a:lstStyle/>
                    <a:p>
                      <a:pPr algn="l" fontAlgn="b"/>
                      <a:r>
                        <a:rPr lang="en-ZA" sz="2400" b="0" i="0" u="none" strike="noStrike">
                          <a:effectLst/>
                          <a:latin typeface="Arial" panose="020B0604020202020204" pitchFamily="34" charset="0"/>
                        </a:rPr>
                        <a:t>Guinea</a:t>
                      </a:r>
                    </a:p>
                  </a:txBody>
                  <a:tcPr marL="11430" marR="11430" marT="11430" marB="0" anchor="b"/>
                </a:tc>
                <a:tc>
                  <a:txBody>
                    <a:bodyPr/>
                    <a:lstStyle/>
                    <a:p>
                      <a:pPr algn="r" fontAlgn="b"/>
                      <a:r>
                        <a:rPr lang="en-ZA" sz="2400" b="0" i="0" u="none" strike="noStrike">
                          <a:effectLst/>
                          <a:latin typeface="Arial" panose="020B0604020202020204" pitchFamily="34" charset="0"/>
                        </a:rPr>
                        <a:t>0.85%</a:t>
                      </a:r>
                    </a:p>
                  </a:txBody>
                  <a:tcPr marL="11430" marR="11430" marT="11430" marB="0" anchor="b"/>
                </a:tc>
                <a:extLst>
                  <a:ext uri="{0D108BD9-81ED-4DB2-BD59-A6C34878D82A}">
                    <a16:rowId xmlns:a16="http://schemas.microsoft.com/office/drawing/2014/main" val="2620318052"/>
                  </a:ext>
                </a:extLst>
              </a:tr>
              <a:tr h="389250">
                <a:tc>
                  <a:txBody>
                    <a:bodyPr/>
                    <a:lstStyle/>
                    <a:p>
                      <a:pPr algn="l" fontAlgn="b"/>
                      <a:r>
                        <a:rPr lang="en-ZA" sz="2400" b="0" i="0" u="none" strike="noStrike">
                          <a:effectLst/>
                          <a:latin typeface="Arial" panose="020B0604020202020204" pitchFamily="34" charset="0"/>
                        </a:rPr>
                        <a:t>Guinea-Bissau</a:t>
                      </a:r>
                    </a:p>
                  </a:txBody>
                  <a:tcPr marL="11430" marR="11430" marT="11430" marB="0" anchor="b"/>
                </a:tc>
                <a:tc>
                  <a:txBody>
                    <a:bodyPr/>
                    <a:lstStyle/>
                    <a:p>
                      <a:pPr algn="r" fontAlgn="b"/>
                      <a:r>
                        <a:rPr lang="en-ZA" sz="2400" b="0" i="0" u="none" strike="noStrike" dirty="0">
                          <a:effectLst/>
                          <a:latin typeface="Arial" panose="020B0604020202020204" pitchFamily="34" charset="0"/>
                        </a:rPr>
                        <a:t>No data</a:t>
                      </a:r>
                    </a:p>
                  </a:txBody>
                  <a:tcPr marL="11430" marR="11430" marT="11430" marB="0" anchor="b"/>
                </a:tc>
                <a:extLst>
                  <a:ext uri="{0D108BD9-81ED-4DB2-BD59-A6C34878D82A}">
                    <a16:rowId xmlns:a16="http://schemas.microsoft.com/office/drawing/2014/main" val="2720800965"/>
                  </a:ext>
                </a:extLst>
              </a:tr>
              <a:tr h="389250">
                <a:tc>
                  <a:txBody>
                    <a:bodyPr/>
                    <a:lstStyle/>
                    <a:p>
                      <a:pPr algn="l" fontAlgn="b"/>
                      <a:r>
                        <a:rPr lang="en-ZA" sz="2400" b="0" i="0" u="none" strike="noStrike">
                          <a:effectLst/>
                          <a:latin typeface="Arial" panose="020B0604020202020204" pitchFamily="34" charset="0"/>
                        </a:rPr>
                        <a:t>Liberia</a:t>
                      </a:r>
                    </a:p>
                  </a:txBody>
                  <a:tcPr marL="11430" marR="11430" marT="11430" marB="0" anchor="b"/>
                </a:tc>
                <a:tc>
                  <a:txBody>
                    <a:bodyPr/>
                    <a:lstStyle/>
                    <a:p>
                      <a:pPr algn="r" fontAlgn="b"/>
                      <a:r>
                        <a:rPr lang="en-ZA" sz="2400" b="0" i="0" u="none" strike="noStrike">
                          <a:effectLst/>
                          <a:latin typeface="Arial" panose="020B0604020202020204" pitchFamily="34" charset="0"/>
                        </a:rPr>
                        <a:t>6.17%</a:t>
                      </a:r>
                    </a:p>
                  </a:txBody>
                  <a:tcPr marL="11430" marR="11430" marT="11430" marB="0" anchor="b"/>
                </a:tc>
                <a:extLst>
                  <a:ext uri="{0D108BD9-81ED-4DB2-BD59-A6C34878D82A}">
                    <a16:rowId xmlns:a16="http://schemas.microsoft.com/office/drawing/2014/main" val="3951878143"/>
                  </a:ext>
                </a:extLst>
              </a:tr>
              <a:tr h="389250">
                <a:tc>
                  <a:txBody>
                    <a:bodyPr/>
                    <a:lstStyle/>
                    <a:p>
                      <a:pPr algn="l" fontAlgn="b"/>
                      <a:r>
                        <a:rPr lang="en-ZA" sz="2400" b="0" i="0" u="none" strike="noStrike">
                          <a:effectLst/>
                          <a:latin typeface="Arial" panose="020B0604020202020204" pitchFamily="34" charset="0"/>
                        </a:rPr>
                        <a:t>Niger</a:t>
                      </a:r>
                    </a:p>
                  </a:txBody>
                  <a:tcPr marL="11430" marR="11430" marT="11430" marB="0" anchor="b"/>
                </a:tc>
                <a:tc>
                  <a:txBody>
                    <a:bodyPr/>
                    <a:lstStyle/>
                    <a:p>
                      <a:pPr algn="r" fontAlgn="b"/>
                      <a:r>
                        <a:rPr lang="en-ZA" sz="2400" b="0" i="0" u="none" strike="noStrike">
                          <a:effectLst/>
                          <a:latin typeface="Arial" panose="020B0604020202020204" pitchFamily="34" charset="0"/>
                        </a:rPr>
                        <a:t>7.51%</a:t>
                      </a:r>
                    </a:p>
                  </a:txBody>
                  <a:tcPr marL="11430" marR="11430" marT="11430" marB="0" anchor="b"/>
                </a:tc>
                <a:extLst>
                  <a:ext uri="{0D108BD9-81ED-4DB2-BD59-A6C34878D82A}">
                    <a16:rowId xmlns:a16="http://schemas.microsoft.com/office/drawing/2014/main" val="596860990"/>
                  </a:ext>
                </a:extLst>
              </a:tr>
              <a:tr h="389250">
                <a:tc>
                  <a:txBody>
                    <a:bodyPr/>
                    <a:lstStyle/>
                    <a:p>
                      <a:pPr algn="l" fontAlgn="b"/>
                      <a:r>
                        <a:rPr lang="en-ZA" sz="2400" b="0" i="0" u="none" strike="noStrike">
                          <a:effectLst/>
                          <a:latin typeface="Arial" panose="020B0604020202020204" pitchFamily="34" charset="0"/>
                        </a:rPr>
                        <a:t>Nigeria</a:t>
                      </a:r>
                    </a:p>
                  </a:txBody>
                  <a:tcPr marL="11430" marR="11430" marT="11430" marB="0" anchor="b"/>
                </a:tc>
                <a:tc>
                  <a:txBody>
                    <a:bodyPr/>
                    <a:lstStyle/>
                    <a:p>
                      <a:pPr algn="r" fontAlgn="b"/>
                      <a:r>
                        <a:rPr lang="en-ZA" sz="2400" b="0" i="0" u="none" strike="noStrike">
                          <a:effectLst/>
                          <a:latin typeface="Arial" panose="020B0604020202020204" pitchFamily="34" charset="0"/>
                        </a:rPr>
                        <a:t>1.18%</a:t>
                      </a:r>
                    </a:p>
                  </a:txBody>
                  <a:tcPr marL="11430" marR="11430" marT="11430" marB="0" anchor="b"/>
                </a:tc>
                <a:extLst>
                  <a:ext uri="{0D108BD9-81ED-4DB2-BD59-A6C34878D82A}">
                    <a16:rowId xmlns:a16="http://schemas.microsoft.com/office/drawing/2014/main" val="2676189376"/>
                  </a:ext>
                </a:extLst>
              </a:tr>
              <a:tr h="389250">
                <a:tc>
                  <a:txBody>
                    <a:bodyPr/>
                    <a:lstStyle/>
                    <a:p>
                      <a:pPr algn="l" fontAlgn="b"/>
                      <a:r>
                        <a:rPr lang="en-ZA" sz="2400" b="0" i="0" u="none" strike="noStrike">
                          <a:effectLst/>
                          <a:latin typeface="Arial" panose="020B0604020202020204" pitchFamily="34" charset="0"/>
                        </a:rPr>
                        <a:t>Sao Tome and Principe</a:t>
                      </a:r>
                    </a:p>
                  </a:txBody>
                  <a:tcPr marL="11430" marR="11430" marT="11430" marB="0" anchor="b"/>
                </a:tc>
                <a:tc>
                  <a:txBody>
                    <a:bodyPr/>
                    <a:lstStyle/>
                    <a:p>
                      <a:pPr algn="r" fontAlgn="b"/>
                      <a:r>
                        <a:rPr lang="en-ZA" sz="2400" b="0" i="0" u="none" strike="noStrike">
                          <a:effectLst/>
                          <a:latin typeface="Arial" panose="020B0604020202020204" pitchFamily="34" charset="0"/>
                        </a:rPr>
                        <a:t>11.77%</a:t>
                      </a:r>
                    </a:p>
                  </a:txBody>
                  <a:tcPr marL="11430" marR="11430" marT="11430" marB="0" anchor="b"/>
                </a:tc>
                <a:extLst>
                  <a:ext uri="{0D108BD9-81ED-4DB2-BD59-A6C34878D82A}">
                    <a16:rowId xmlns:a16="http://schemas.microsoft.com/office/drawing/2014/main" val="3303298745"/>
                  </a:ext>
                </a:extLst>
              </a:tr>
              <a:tr h="389250">
                <a:tc>
                  <a:txBody>
                    <a:bodyPr/>
                    <a:lstStyle/>
                    <a:p>
                      <a:pPr algn="l" fontAlgn="b"/>
                      <a:r>
                        <a:rPr lang="en-ZA" sz="2400" b="0" i="0" u="none" strike="noStrike">
                          <a:effectLst/>
                          <a:latin typeface="Arial" panose="020B0604020202020204" pitchFamily="34" charset="0"/>
                        </a:rPr>
                        <a:t>Senegal</a:t>
                      </a:r>
                    </a:p>
                  </a:txBody>
                  <a:tcPr marL="11430" marR="11430" marT="11430" marB="0" anchor="b"/>
                </a:tc>
                <a:tc>
                  <a:txBody>
                    <a:bodyPr/>
                    <a:lstStyle/>
                    <a:p>
                      <a:pPr algn="r" fontAlgn="b"/>
                      <a:r>
                        <a:rPr lang="en-ZA" sz="2400" b="0" i="0" u="none" strike="noStrike">
                          <a:effectLst/>
                          <a:latin typeface="Arial" panose="020B0604020202020204" pitchFamily="34" charset="0"/>
                        </a:rPr>
                        <a:t>3.53%</a:t>
                      </a:r>
                    </a:p>
                  </a:txBody>
                  <a:tcPr marL="11430" marR="11430" marT="11430" marB="0" anchor="b"/>
                </a:tc>
                <a:extLst>
                  <a:ext uri="{0D108BD9-81ED-4DB2-BD59-A6C34878D82A}">
                    <a16:rowId xmlns:a16="http://schemas.microsoft.com/office/drawing/2014/main" val="3351379532"/>
                  </a:ext>
                </a:extLst>
              </a:tr>
              <a:tr h="389250">
                <a:tc>
                  <a:txBody>
                    <a:bodyPr/>
                    <a:lstStyle/>
                    <a:p>
                      <a:pPr algn="l" fontAlgn="b"/>
                      <a:r>
                        <a:rPr lang="en-ZA" sz="2400" b="0" i="0" u="none" strike="noStrike">
                          <a:effectLst/>
                          <a:latin typeface="Arial" panose="020B0604020202020204" pitchFamily="34" charset="0"/>
                        </a:rPr>
                        <a:t>Sierra Leone</a:t>
                      </a:r>
                    </a:p>
                  </a:txBody>
                  <a:tcPr marL="11430" marR="11430" marT="11430" marB="0" anchor="b"/>
                </a:tc>
                <a:tc>
                  <a:txBody>
                    <a:bodyPr/>
                    <a:lstStyle/>
                    <a:p>
                      <a:pPr algn="r" fontAlgn="b"/>
                      <a:r>
                        <a:rPr lang="en-ZA" sz="2400" b="0" i="0" u="none" strike="noStrike" dirty="0">
                          <a:effectLst/>
                          <a:latin typeface="Arial" panose="020B0604020202020204" pitchFamily="34" charset="0"/>
                        </a:rPr>
                        <a:t>No data</a:t>
                      </a:r>
                    </a:p>
                  </a:txBody>
                  <a:tcPr marL="11430" marR="11430" marT="11430" marB="0" anchor="b"/>
                </a:tc>
                <a:extLst>
                  <a:ext uri="{0D108BD9-81ED-4DB2-BD59-A6C34878D82A}">
                    <a16:rowId xmlns:a16="http://schemas.microsoft.com/office/drawing/2014/main" val="1016618618"/>
                  </a:ext>
                </a:extLst>
              </a:tr>
              <a:tr h="389250">
                <a:tc>
                  <a:txBody>
                    <a:bodyPr/>
                    <a:lstStyle/>
                    <a:p>
                      <a:pPr algn="l" fontAlgn="b"/>
                      <a:r>
                        <a:rPr lang="en-ZA" sz="2400" b="0" i="0" u="none" strike="noStrike" dirty="0">
                          <a:effectLst/>
                          <a:latin typeface="Arial" panose="020B0604020202020204" pitchFamily="34" charset="0"/>
                        </a:rPr>
                        <a:t>Togo</a:t>
                      </a:r>
                    </a:p>
                  </a:txBody>
                  <a:tcPr marL="11430" marR="11430" marT="11430" marB="0" anchor="b"/>
                </a:tc>
                <a:tc>
                  <a:txBody>
                    <a:bodyPr/>
                    <a:lstStyle/>
                    <a:p>
                      <a:pPr algn="r" fontAlgn="b"/>
                      <a:r>
                        <a:rPr lang="en-ZA" sz="2400" b="0" i="0" u="none" strike="noStrike" dirty="0">
                          <a:effectLst/>
                          <a:latin typeface="Arial" panose="020B0604020202020204" pitchFamily="34" charset="0"/>
                        </a:rPr>
                        <a:t>1.06%</a:t>
                      </a:r>
                    </a:p>
                  </a:txBody>
                  <a:tcPr marL="11430" marR="11430" marT="11430" marB="0" anchor="b"/>
                </a:tc>
                <a:extLst>
                  <a:ext uri="{0D108BD9-81ED-4DB2-BD59-A6C34878D82A}">
                    <a16:rowId xmlns:a16="http://schemas.microsoft.com/office/drawing/2014/main" val="3744721324"/>
                  </a:ext>
                </a:extLst>
              </a:tr>
            </a:tbl>
          </a:graphicData>
        </a:graphic>
      </p:graphicFrame>
      <p:sp>
        <p:nvSpPr>
          <p:cNvPr id="7" name="Rectangle 6">
            <a:extLst>
              <a:ext uri="{FF2B5EF4-FFF2-40B4-BE49-F238E27FC236}">
                <a16:creationId xmlns:a16="http://schemas.microsoft.com/office/drawing/2014/main" id="{734A2C43-6212-4000-911F-AEAEED7B5351}"/>
              </a:ext>
            </a:extLst>
          </p:cNvPr>
          <p:cNvSpPr/>
          <p:nvPr/>
        </p:nvSpPr>
        <p:spPr>
          <a:xfrm>
            <a:off x="7243811" y="7446114"/>
            <a:ext cx="6847708" cy="424732"/>
          </a:xfrm>
          <a:prstGeom prst="rect">
            <a:avLst/>
          </a:prstGeom>
        </p:spPr>
        <p:txBody>
          <a:bodyPr wrap="none">
            <a:spAutoFit/>
          </a:bodyPr>
          <a:lstStyle/>
          <a:p>
            <a:r>
              <a:rPr lang="en-ZA" sz="2160" dirty="0">
                <a:hlinkClick r:id="rId2"/>
              </a:rPr>
              <a:t>http://apps.who.int/nha/database/ViewData/Indicators/en</a:t>
            </a:r>
            <a:endParaRPr lang="en-ZA" sz="2160" dirty="0"/>
          </a:p>
        </p:txBody>
      </p:sp>
      <p:pic>
        <p:nvPicPr>
          <p:cNvPr id="3" name="Picture 2">
            <a:extLst>
              <a:ext uri="{FF2B5EF4-FFF2-40B4-BE49-F238E27FC236}">
                <a16:creationId xmlns:a16="http://schemas.microsoft.com/office/drawing/2014/main" id="{D28EE40B-F3F5-4AA0-827B-165DF8F9B51A}"/>
              </a:ext>
            </a:extLst>
          </p:cNvPr>
          <p:cNvPicPr>
            <a:picLocks noChangeAspect="1"/>
          </p:cNvPicPr>
          <p:nvPr/>
        </p:nvPicPr>
        <p:blipFill rotWithShape="1">
          <a:blip r:embed="rId3"/>
          <a:srcRect t="11345" b="11079"/>
          <a:stretch/>
        </p:blipFill>
        <p:spPr>
          <a:xfrm>
            <a:off x="5079494" y="1254923"/>
            <a:ext cx="9445752" cy="6191191"/>
          </a:xfrm>
          <a:prstGeom prst="rect">
            <a:avLst/>
          </a:prstGeom>
        </p:spPr>
      </p:pic>
    </p:spTree>
    <p:extLst>
      <p:ext uri="{BB962C8B-B14F-4D97-AF65-F5344CB8AC3E}">
        <p14:creationId xmlns:p14="http://schemas.microsoft.com/office/powerpoint/2010/main" val="6817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9"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26742" cy="82296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01" y="1692098"/>
            <a:ext cx="8229600" cy="4845403"/>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02" y="1704263"/>
            <a:ext cx="8229599" cy="4845407"/>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921508" y="4305702"/>
            <a:ext cx="3002375" cy="4845409"/>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602084" y="1163661"/>
            <a:ext cx="4680428" cy="5014750"/>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12" y="1679932"/>
            <a:ext cx="8229604" cy="4845402"/>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4">
            <a:extLst>
              <a:ext uri="{FF2B5EF4-FFF2-40B4-BE49-F238E27FC236}">
                <a16:creationId xmlns:a16="http://schemas.microsoft.com/office/drawing/2014/main" id="{5F7BFC59-455F-FB40-9DF3-0E2F314394E9}"/>
              </a:ext>
            </a:extLst>
          </p:cNvPr>
          <p:cNvSpPr/>
          <p:nvPr/>
        </p:nvSpPr>
        <p:spPr>
          <a:xfrm>
            <a:off x="560066" y="704226"/>
            <a:ext cx="3841639" cy="4064996"/>
          </a:xfrm>
          <a:prstGeom prst="rect">
            <a:avLst/>
          </a:prstGeom>
        </p:spPr>
        <p:txBody>
          <a:bodyPr vert="horz" lIns="91440" tIns="45720" rIns="91440" bIns="45720" rtlCol="0" anchor="b">
            <a:normAutofit/>
          </a:bodyPr>
          <a:lstStyle/>
          <a:p>
            <a:pPr marL="0" indent="0" algn="r">
              <a:lnSpc>
                <a:spcPct val="90000"/>
              </a:lnSpc>
              <a:spcBef>
                <a:spcPct val="0"/>
              </a:spcBef>
              <a:spcAft>
                <a:spcPts val="600"/>
              </a:spcAft>
            </a:pPr>
            <a:r>
              <a:rPr lang="en-US" sz="4800" b="1" kern="1200" spc="-73" dirty="0">
                <a:solidFill>
                  <a:srgbClr val="FFFFFF"/>
                </a:solidFill>
                <a:latin typeface="+mj-lt"/>
                <a:ea typeface="+mj-ea"/>
                <a:cs typeface="+mj-cs"/>
              </a:rPr>
              <a:t>Introduction (1)</a:t>
            </a:r>
            <a:endParaRPr lang="en-US" sz="4800" kern="1200" dirty="0">
              <a:solidFill>
                <a:srgbClr val="FFFFFF"/>
              </a:solidFill>
              <a:latin typeface="+mj-lt"/>
              <a:ea typeface="+mj-ea"/>
              <a:cs typeface="+mj-cs"/>
            </a:endParaRPr>
          </a:p>
        </p:txBody>
      </p:sp>
      <p:sp>
        <p:nvSpPr>
          <p:cNvPr id="3" name="Text 8">
            <a:extLst>
              <a:ext uri="{FF2B5EF4-FFF2-40B4-BE49-F238E27FC236}">
                <a16:creationId xmlns:a16="http://schemas.microsoft.com/office/drawing/2014/main" id="{BD3BF696-4CF9-4F49-9A22-031CD2027006}"/>
              </a:ext>
            </a:extLst>
          </p:cNvPr>
          <p:cNvSpPr/>
          <p:nvPr/>
        </p:nvSpPr>
        <p:spPr>
          <a:xfrm>
            <a:off x="5772310" y="779376"/>
            <a:ext cx="7866417" cy="7285332"/>
          </a:xfrm>
          <a:prstGeom prst="rect">
            <a:avLst/>
          </a:prstGeom>
        </p:spPr>
        <p:txBody>
          <a:bodyPr vert="horz" lIns="91440" tIns="45720" rIns="91440" bIns="45720" rtlCol="0" anchor="ctr">
            <a:normAutofit/>
          </a:bodyPr>
          <a:lstStyle/>
          <a:p>
            <a:pPr>
              <a:lnSpc>
                <a:spcPct val="90000"/>
              </a:lnSpc>
              <a:spcAft>
                <a:spcPts val="600"/>
              </a:spcAft>
            </a:pPr>
            <a:r>
              <a:rPr lang="en-US" sz="2400" spc="-24" dirty="0"/>
              <a:t>Generally, aid is a major source of funding for ASRH interventions in resource constraint settings. </a:t>
            </a:r>
          </a:p>
          <a:p>
            <a:pPr>
              <a:lnSpc>
                <a:spcPct val="90000"/>
              </a:lnSpc>
              <a:spcAft>
                <a:spcPts val="600"/>
              </a:spcAft>
            </a:pPr>
            <a:endParaRPr lang="en-US" sz="2400" spc="-24" dirty="0"/>
          </a:p>
          <a:p>
            <a:pPr>
              <a:lnSpc>
                <a:spcPct val="90000"/>
              </a:lnSpc>
              <a:spcAft>
                <a:spcPts val="600"/>
              </a:spcAft>
            </a:pPr>
            <a:r>
              <a:rPr lang="en-US" sz="2400" spc="-24" dirty="0"/>
              <a:t>It is estimated that due to COVID-19, the global financing facility (GFF) reported a </a:t>
            </a:r>
            <a:r>
              <a:rPr lang="en-US" sz="2400" b="1" spc="-24" dirty="0"/>
              <a:t>25% reduction </a:t>
            </a:r>
            <a:r>
              <a:rPr lang="en-US" sz="2400" spc="-24" dirty="0"/>
              <a:t>in life-saving health interventions for women, children, and adolescents. </a:t>
            </a:r>
          </a:p>
          <a:p>
            <a:pPr>
              <a:lnSpc>
                <a:spcPct val="90000"/>
              </a:lnSpc>
              <a:spcAft>
                <a:spcPts val="600"/>
              </a:spcAft>
            </a:pPr>
            <a:endParaRPr lang="en-US" sz="2400" spc="-24" dirty="0"/>
          </a:p>
          <a:p>
            <a:pPr>
              <a:lnSpc>
                <a:spcPct val="90000"/>
              </a:lnSpc>
              <a:spcAft>
                <a:spcPts val="600"/>
              </a:spcAft>
            </a:pPr>
            <a:r>
              <a:rPr lang="en-US" sz="2400" spc="-24" dirty="0"/>
              <a:t>Consequently, reductions in aid support may </a:t>
            </a:r>
            <a:r>
              <a:rPr lang="en-US" sz="2400" b="1" spc="-24" dirty="0"/>
              <a:t>widen the funding gap </a:t>
            </a:r>
            <a:r>
              <a:rPr lang="en-US" sz="2400" spc="-24" dirty="0"/>
              <a:t>for ASRH interventions</a:t>
            </a:r>
          </a:p>
          <a:p>
            <a:pPr>
              <a:lnSpc>
                <a:spcPct val="90000"/>
              </a:lnSpc>
              <a:spcAft>
                <a:spcPts val="600"/>
              </a:spcAft>
            </a:pPr>
            <a:endParaRPr lang="en-US" sz="2400" spc="-24" dirty="0"/>
          </a:p>
          <a:p>
            <a:pPr>
              <a:lnSpc>
                <a:spcPct val="90000"/>
              </a:lnSpc>
              <a:spcAft>
                <a:spcPts val="600"/>
              </a:spcAft>
            </a:pPr>
            <a:r>
              <a:rPr lang="en-US" sz="2400" spc="-24" dirty="0"/>
              <a:t>Again, fiscal austerity and low government budgetary allocation to health in LMIC may aggravate the domestic resource mobilisation potential for ASRH (</a:t>
            </a:r>
            <a:r>
              <a:rPr lang="en-US" sz="2400" spc="-24" dirty="0" err="1"/>
              <a:t>Schaferhoff</a:t>
            </a:r>
            <a:r>
              <a:rPr lang="en-US" sz="2400" spc="-24" dirty="0"/>
              <a:t> </a:t>
            </a:r>
            <a:r>
              <a:rPr lang="en-US" sz="2400" i="1" spc="-24" dirty="0"/>
              <a:t>et al.,</a:t>
            </a:r>
            <a:r>
              <a:rPr lang="en-US" sz="2400" spc="-24" dirty="0"/>
              <a:t> 2019). </a:t>
            </a:r>
          </a:p>
          <a:p>
            <a:pPr marL="0" indent="-228600">
              <a:lnSpc>
                <a:spcPct val="90000"/>
              </a:lnSpc>
              <a:spcAft>
                <a:spcPts val="600"/>
              </a:spcAft>
              <a:buFont typeface="Arial" panose="020B0604020202020204" pitchFamily="34" charset="0"/>
              <a:buChar char="•"/>
            </a:pPr>
            <a:endParaRPr lang="en-US" sz="2000" spc="-24" dirty="0"/>
          </a:p>
        </p:txBody>
      </p:sp>
    </p:spTree>
    <p:extLst>
      <p:ext uri="{BB962C8B-B14F-4D97-AF65-F5344CB8AC3E}">
        <p14:creationId xmlns:p14="http://schemas.microsoft.com/office/powerpoint/2010/main" val="28159938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26742" cy="82296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01" y="1692098"/>
            <a:ext cx="8229600" cy="4845403"/>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02" y="1704263"/>
            <a:ext cx="8229599" cy="4845407"/>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921508" y="4305702"/>
            <a:ext cx="3002375" cy="4845409"/>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602084" y="1163661"/>
            <a:ext cx="4680428" cy="5014750"/>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12" y="1679932"/>
            <a:ext cx="8229604" cy="4845402"/>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4">
            <a:extLst>
              <a:ext uri="{FF2B5EF4-FFF2-40B4-BE49-F238E27FC236}">
                <a16:creationId xmlns:a16="http://schemas.microsoft.com/office/drawing/2014/main" id="{5F7BFC59-455F-FB40-9DF3-0E2F314394E9}"/>
              </a:ext>
            </a:extLst>
          </p:cNvPr>
          <p:cNvSpPr/>
          <p:nvPr/>
        </p:nvSpPr>
        <p:spPr>
          <a:xfrm>
            <a:off x="560066" y="704226"/>
            <a:ext cx="3841639" cy="4064996"/>
          </a:xfrm>
          <a:prstGeom prst="rect">
            <a:avLst/>
          </a:prstGeom>
        </p:spPr>
        <p:txBody>
          <a:bodyPr vert="horz" lIns="91440" tIns="45720" rIns="91440" bIns="45720" rtlCol="0" anchor="b">
            <a:normAutofit/>
          </a:bodyPr>
          <a:lstStyle/>
          <a:p>
            <a:pPr marL="0" indent="0" algn="r">
              <a:lnSpc>
                <a:spcPct val="90000"/>
              </a:lnSpc>
              <a:spcBef>
                <a:spcPct val="0"/>
              </a:spcBef>
              <a:spcAft>
                <a:spcPts val="600"/>
              </a:spcAft>
            </a:pPr>
            <a:r>
              <a:rPr lang="en-US" sz="4800" b="1" kern="1200" spc="-73" dirty="0">
                <a:solidFill>
                  <a:srgbClr val="FFFFFF"/>
                </a:solidFill>
                <a:latin typeface="+mj-lt"/>
                <a:ea typeface="+mj-ea"/>
                <a:cs typeface="+mj-cs"/>
              </a:rPr>
              <a:t>Introduction (2)</a:t>
            </a:r>
            <a:endParaRPr lang="en-US" sz="4800" kern="1200" dirty="0">
              <a:solidFill>
                <a:srgbClr val="FFFFFF"/>
              </a:solidFill>
              <a:latin typeface="+mj-lt"/>
              <a:ea typeface="+mj-ea"/>
              <a:cs typeface="+mj-cs"/>
            </a:endParaRPr>
          </a:p>
        </p:txBody>
      </p:sp>
      <p:sp>
        <p:nvSpPr>
          <p:cNvPr id="3" name="Text 8">
            <a:extLst>
              <a:ext uri="{FF2B5EF4-FFF2-40B4-BE49-F238E27FC236}">
                <a16:creationId xmlns:a16="http://schemas.microsoft.com/office/drawing/2014/main" id="{BD3BF696-4CF9-4F49-9A22-031CD2027006}"/>
              </a:ext>
            </a:extLst>
          </p:cNvPr>
          <p:cNvSpPr/>
          <p:nvPr/>
        </p:nvSpPr>
        <p:spPr>
          <a:xfrm>
            <a:off x="5772310" y="779376"/>
            <a:ext cx="7866417" cy="6655256"/>
          </a:xfrm>
          <a:prstGeom prst="rect">
            <a:avLst/>
          </a:prstGeom>
        </p:spPr>
        <p:txBody>
          <a:bodyPr vert="horz" lIns="91440" tIns="45720" rIns="91440" bIns="45720" rtlCol="0" anchor="ctr">
            <a:normAutofit/>
          </a:bodyPr>
          <a:lstStyle/>
          <a:p>
            <a:pPr>
              <a:lnSpc>
                <a:spcPct val="90000"/>
              </a:lnSpc>
              <a:spcAft>
                <a:spcPts val="600"/>
              </a:spcAft>
            </a:pPr>
            <a:endParaRPr lang="en-US" sz="2800" spc="-24" dirty="0"/>
          </a:p>
          <a:p>
            <a:pPr>
              <a:lnSpc>
                <a:spcPct val="90000"/>
              </a:lnSpc>
              <a:spcAft>
                <a:spcPts val="600"/>
              </a:spcAft>
            </a:pPr>
            <a:r>
              <a:rPr lang="en-US" sz="2800" spc="-24" dirty="0"/>
              <a:t>In Ghana, there is a lack of published scientific evidence regarding </a:t>
            </a:r>
            <a:r>
              <a:rPr lang="en-US" sz="2800" b="1" spc="-24" dirty="0"/>
              <a:t>the magnitude of the funding gap and innovative financing strategies </a:t>
            </a:r>
            <a:r>
              <a:rPr lang="en-US" sz="2800" spc="-24" dirty="0"/>
              <a:t>for ASRH interventions. </a:t>
            </a:r>
          </a:p>
          <a:p>
            <a:pPr>
              <a:lnSpc>
                <a:spcPct val="90000"/>
              </a:lnSpc>
              <a:spcAft>
                <a:spcPts val="600"/>
              </a:spcAft>
            </a:pPr>
            <a:endParaRPr lang="en-US" sz="2800" spc="-24" dirty="0"/>
          </a:p>
          <a:p>
            <a:pPr>
              <a:lnSpc>
                <a:spcPct val="90000"/>
              </a:lnSpc>
              <a:spcAft>
                <a:spcPts val="600"/>
              </a:spcAft>
            </a:pPr>
            <a:r>
              <a:rPr lang="en-US" sz="2800" b="1" spc="-24" dirty="0"/>
              <a:t>How do stakeholders perceive the resource needs, funding gaps, and sustainable resource mobilisation to implement effective ASRH interventions?</a:t>
            </a:r>
            <a:endParaRPr lang="en-US" sz="2800" b="1" dirty="0"/>
          </a:p>
        </p:txBody>
      </p:sp>
    </p:spTree>
    <p:extLst>
      <p:ext uri="{BB962C8B-B14F-4D97-AF65-F5344CB8AC3E}">
        <p14:creationId xmlns:p14="http://schemas.microsoft.com/office/powerpoint/2010/main" val="25499623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name="Slide 3">
    <p:spTree>
      <p:nvGrpSpPr>
        <p:cNvPr id="1" name=""/>
        <p:cNvGrpSpPr/>
        <p:nvPr/>
      </p:nvGrpSpPr>
      <p:grpSpPr>
        <a:xfrm>
          <a:off x="0" y="0"/>
          <a:ext cx="0" cy="0"/>
          <a:chOff x="0" y="0"/>
          <a:chExt cx="0" cy="0"/>
        </a:xfrm>
      </p:grpSpPr>
      <p:sp>
        <p:nvSpPr>
          <p:cNvPr id="2" name="Shape 0"/>
          <p:cNvSpPr/>
          <p:nvPr/>
        </p:nvSpPr>
        <p:spPr>
          <a:xfrm>
            <a:off x="-406400" y="-4852442"/>
            <a:ext cx="17248665" cy="18046558"/>
          </a:xfrm>
          <a:prstGeom prst="rect">
            <a:avLst/>
          </a:prstGeom>
          <a:solidFill>
            <a:srgbClr val="F6F4F4"/>
          </a:solidFill>
          <a:ln/>
        </p:spPr>
      </p:sp>
      <p:sp>
        <p:nvSpPr>
          <p:cNvPr id="3" name="Shape 1"/>
          <p:cNvSpPr/>
          <p:nvPr/>
        </p:nvSpPr>
        <p:spPr>
          <a:xfrm>
            <a:off x="0" y="659567"/>
            <a:ext cx="9482667" cy="6452433"/>
          </a:xfrm>
          <a:prstGeom prst="rect">
            <a:avLst/>
          </a:prstGeom>
          <a:solidFill>
            <a:srgbClr val="FFFFFF"/>
          </a:solidFill>
          <a:ln w="7620">
            <a:solidFill>
              <a:srgbClr val="E5E0DF"/>
            </a:solidFill>
            <a:prstDash val="solid"/>
          </a:ln>
        </p:spPr>
        <p:txBody>
          <a:bodyPr/>
          <a:lstStyle/>
          <a:p>
            <a:endParaRPr lang="en-GH" dirty="0"/>
          </a:p>
        </p:txBody>
      </p:sp>
      <p:sp>
        <p:nvSpPr>
          <p:cNvPr id="4" name="Text 2"/>
          <p:cNvSpPr/>
          <p:nvPr/>
        </p:nvSpPr>
        <p:spPr>
          <a:xfrm>
            <a:off x="636251" y="771644"/>
            <a:ext cx="6375678" cy="722114"/>
          </a:xfrm>
          <a:prstGeom prst="rect">
            <a:avLst/>
          </a:prstGeom>
          <a:noFill/>
          <a:ln/>
        </p:spPr>
        <p:txBody>
          <a:bodyPr wrap="none" rtlCol="0" anchor="t"/>
          <a:lstStyle/>
          <a:p>
            <a:pPr marL="0" indent="0">
              <a:lnSpc>
                <a:spcPts val="5686"/>
              </a:lnSpc>
              <a:buNone/>
            </a:pPr>
            <a:r>
              <a:rPr lang="en-US" sz="4374" b="1" kern="0" spc="-131" dirty="0">
                <a:solidFill>
                  <a:srgbClr val="000000"/>
                </a:solidFill>
                <a:latin typeface="Inter" pitchFamily="34" charset="0"/>
                <a:ea typeface="Inter" pitchFamily="34" charset="-122"/>
                <a:cs typeface="Inter" pitchFamily="34" charset="-120"/>
              </a:rPr>
              <a:t>Data Collection Methods</a:t>
            </a:r>
            <a:endParaRPr lang="en-US" sz="4374" dirty="0"/>
          </a:p>
        </p:txBody>
      </p:sp>
      <p:sp>
        <p:nvSpPr>
          <p:cNvPr id="5" name="Text 3"/>
          <p:cNvSpPr/>
          <p:nvPr/>
        </p:nvSpPr>
        <p:spPr>
          <a:xfrm>
            <a:off x="636251" y="2021323"/>
            <a:ext cx="8419826" cy="4599610"/>
          </a:xfrm>
          <a:prstGeom prst="rect">
            <a:avLst/>
          </a:prstGeom>
          <a:noFill/>
          <a:ln/>
        </p:spPr>
        <p:txBody>
          <a:bodyPr wrap="square" rtlCol="0" anchor="t"/>
          <a:lstStyle/>
          <a:p>
            <a:pPr marL="0" indent="0">
              <a:lnSpc>
                <a:spcPts val="3149"/>
              </a:lnSpc>
              <a:buNone/>
            </a:pPr>
            <a:r>
              <a:rPr lang="en-US" sz="2800" kern="0" spc="-35" dirty="0">
                <a:solidFill>
                  <a:srgbClr val="272525"/>
                </a:solidFill>
                <a:latin typeface="Inter" pitchFamily="34" charset="0"/>
                <a:ea typeface="Inter" pitchFamily="34" charset="-122"/>
                <a:cs typeface="Inter" pitchFamily="34" charset="-120"/>
              </a:rPr>
              <a:t>Several data collection methods were used, including in-person interviews, phone surveys, and online questionnaires.</a:t>
            </a:r>
          </a:p>
          <a:p>
            <a:pPr marL="0" indent="0">
              <a:lnSpc>
                <a:spcPts val="3149"/>
              </a:lnSpc>
              <a:buNone/>
            </a:pPr>
            <a:endParaRPr lang="en-US" sz="2800" kern="0" spc="-35" dirty="0">
              <a:solidFill>
                <a:srgbClr val="272525"/>
              </a:solidFill>
              <a:latin typeface="Inter" pitchFamily="34" charset="0"/>
              <a:ea typeface="Inter" pitchFamily="34" charset="-122"/>
              <a:cs typeface="Inter" pitchFamily="34" charset="-120"/>
            </a:endParaRPr>
          </a:p>
          <a:p>
            <a:pPr marL="0" indent="0">
              <a:lnSpc>
                <a:spcPts val="3149"/>
              </a:lnSpc>
              <a:buNone/>
            </a:pPr>
            <a:r>
              <a:rPr lang="en-US" sz="2800" kern="0" spc="-35" dirty="0">
                <a:solidFill>
                  <a:srgbClr val="272525"/>
                </a:solidFill>
                <a:latin typeface="Inter" pitchFamily="34" charset="0"/>
                <a:ea typeface="Inter" pitchFamily="34" charset="-122"/>
                <a:cs typeface="Inter" pitchFamily="34" charset="-120"/>
              </a:rPr>
              <a:t>Participants were asked about their experiences with ASRH interventions and their opinions on effective strategies. </a:t>
            </a:r>
          </a:p>
          <a:p>
            <a:pPr marL="0" indent="0">
              <a:lnSpc>
                <a:spcPts val="3149"/>
              </a:lnSpc>
              <a:buNone/>
            </a:pPr>
            <a:endParaRPr lang="en-US" sz="2800" kern="0" spc="-35" dirty="0">
              <a:solidFill>
                <a:srgbClr val="272525"/>
              </a:solidFill>
              <a:latin typeface="Inter" pitchFamily="34" charset="0"/>
              <a:ea typeface="Inter" pitchFamily="34" charset="-122"/>
              <a:cs typeface="Inter" pitchFamily="34" charset="-120"/>
            </a:endParaRPr>
          </a:p>
          <a:p>
            <a:pPr marL="0" indent="0">
              <a:lnSpc>
                <a:spcPts val="3149"/>
              </a:lnSpc>
              <a:buNone/>
            </a:pPr>
            <a:r>
              <a:rPr lang="en-US" sz="2800" kern="0" spc="-35" dirty="0">
                <a:solidFill>
                  <a:srgbClr val="272525"/>
                </a:solidFill>
                <a:latin typeface="Inter" pitchFamily="34" charset="0"/>
                <a:ea typeface="Inter" pitchFamily="34" charset="-122"/>
                <a:cs typeface="Inter" pitchFamily="34" charset="-120"/>
              </a:rPr>
              <a:t>The data was then analyzed to identify common themes and recommendations for future interventions.</a:t>
            </a:r>
            <a:endParaRPr lang="en-US" sz="2800"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26742" cy="82296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01" y="1692098"/>
            <a:ext cx="8229600" cy="4845403"/>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02" y="1704263"/>
            <a:ext cx="8229599" cy="4845407"/>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921508" y="4305702"/>
            <a:ext cx="3002375" cy="4845409"/>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602084" y="1163661"/>
            <a:ext cx="4680428" cy="5014750"/>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692112" y="1679932"/>
            <a:ext cx="8229604" cy="4845402"/>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18">
            <a:extLst>
              <a:ext uri="{FF2B5EF4-FFF2-40B4-BE49-F238E27FC236}">
                <a16:creationId xmlns:a16="http://schemas.microsoft.com/office/drawing/2014/main" id="{81949BEC-C6AC-0143-B6FB-3568341E6049}"/>
              </a:ext>
            </a:extLst>
          </p:cNvPr>
          <p:cNvSpPr/>
          <p:nvPr/>
        </p:nvSpPr>
        <p:spPr>
          <a:xfrm>
            <a:off x="560066" y="704226"/>
            <a:ext cx="3841639" cy="4064996"/>
          </a:xfrm>
          <a:prstGeom prst="rect">
            <a:avLst/>
          </a:prstGeom>
        </p:spPr>
        <p:txBody>
          <a:bodyPr vert="horz" lIns="91440" tIns="45720" rIns="91440" bIns="45720" rtlCol="0" anchor="b">
            <a:normAutofit/>
          </a:bodyPr>
          <a:lstStyle/>
          <a:p>
            <a:pPr marL="0" indent="0" algn="r">
              <a:lnSpc>
                <a:spcPct val="90000"/>
              </a:lnSpc>
              <a:spcBef>
                <a:spcPct val="0"/>
              </a:spcBef>
              <a:spcAft>
                <a:spcPts val="600"/>
              </a:spcAft>
            </a:pPr>
            <a:endParaRPr lang="en-US" sz="4800" b="1" kern="1200" spc="-24">
              <a:solidFill>
                <a:srgbClr val="FFFFFF"/>
              </a:solidFill>
              <a:latin typeface="+mj-lt"/>
              <a:ea typeface="+mj-ea"/>
              <a:cs typeface="+mj-cs"/>
            </a:endParaRPr>
          </a:p>
          <a:p>
            <a:pPr marL="0" indent="0" algn="r">
              <a:lnSpc>
                <a:spcPct val="90000"/>
              </a:lnSpc>
              <a:spcBef>
                <a:spcPct val="0"/>
              </a:spcBef>
              <a:spcAft>
                <a:spcPts val="600"/>
              </a:spcAft>
            </a:pPr>
            <a:r>
              <a:rPr lang="en-US" sz="4800" b="1" kern="1200" spc="-24">
                <a:solidFill>
                  <a:srgbClr val="FFFFFF"/>
                </a:solidFill>
                <a:latin typeface="+mj-lt"/>
                <a:ea typeface="+mj-ea"/>
                <a:cs typeface="+mj-cs"/>
              </a:rPr>
              <a:t>Sampling Strategy</a:t>
            </a:r>
            <a:endParaRPr lang="en-US" sz="4800" kern="1200">
              <a:solidFill>
                <a:srgbClr val="FFFFFF"/>
              </a:solidFill>
              <a:latin typeface="+mj-lt"/>
              <a:ea typeface="+mj-ea"/>
              <a:cs typeface="+mj-cs"/>
            </a:endParaRPr>
          </a:p>
        </p:txBody>
      </p:sp>
      <p:sp>
        <p:nvSpPr>
          <p:cNvPr id="3" name="Text 19">
            <a:extLst>
              <a:ext uri="{FF2B5EF4-FFF2-40B4-BE49-F238E27FC236}">
                <a16:creationId xmlns:a16="http://schemas.microsoft.com/office/drawing/2014/main" id="{335CEFF1-ACC4-8F4E-B23B-DD4DF33EF4CF}"/>
              </a:ext>
            </a:extLst>
          </p:cNvPr>
          <p:cNvSpPr/>
          <p:nvPr/>
        </p:nvSpPr>
        <p:spPr>
          <a:xfrm>
            <a:off x="5772310" y="779375"/>
            <a:ext cx="7892890" cy="7230091"/>
          </a:xfrm>
          <a:prstGeom prst="rect">
            <a:avLst/>
          </a:prstGeom>
        </p:spPr>
        <p:txBody>
          <a:bodyPr vert="horz" lIns="91440" tIns="45720" rIns="91440" bIns="45720" rtlCol="0" anchor="ctr">
            <a:normAutofit/>
          </a:bodyPr>
          <a:lstStyle/>
          <a:p>
            <a:pPr>
              <a:lnSpc>
                <a:spcPct val="90000"/>
              </a:lnSpc>
              <a:spcAft>
                <a:spcPts val="600"/>
              </a:spcAft>
            </a:pPr>
            <a:r>
              <a:rPr lang="en-US" sz="2400" spc="-24" dirty="0"/>
              <a:t>A total of 30 key informants from 15 stakeholder institutions were invited for interviews from 19 December 2022 to 31 January 2023.</a:t>
            </a:r>
          </a:p>
          <a:p>
            <a:pPr marL="0" indent="-228600">
              <a:lnSpc>
                <a:spcPct val="90000"/>
              </a:lnSpc>
              <a:spcAft>
                <a:spcPts val="600"/>
              </a:spcAft>
              <a:buFont typeface="Arial" panose="020B0604020202020204" pitchFamily="34" charset="0"/>
              <a:buChar char="•"/>
            </a:pPr>
            <a:endParaRPr lang="en-US" sz="2400" spc="-24" dirty="0"/>
          </a:p>
          <a:p>
            <a:pPr>
              <a:lnSpc>
                <a:spcPct val="90000"/>
              </a:lnSpc>
              <a:spcAft>
                <a:spcPts val="600"/>
              </a:spcAft>
            </a:pPr>
            <a:endParaRPr lang="en-US" sz="2400" spc="-24" dirty="0"/>
          </a:p>
          <a:p>
            <a:pPr>
              <a:lnSpc>
                <a:spcPct val="90000"/>
              </a:lnSpc>
              <a:spcAft>
                <a:spcPts val="600"/>
              </a:spcAft>
            </a:pPr>
            <a:r>
              <a:rPr lang="en-US" sz="2400" spc="-24" dirty="0"/>
              <a:t>Actors in ASRH through a myriad of ways including </a:t>
            </a:r>
          </a:p>
          <a:p>
            <a:pPr marL="914400" lvl="1" indent="-228600">
              <a:lnSpc>
                <a:spcPct val="90000"/>
              </a:lnSpc>
              <a:spcAft>
                <a:spcPts val="600"/>
              </a:spcAft>
              <a:buFont typeface="Arial" panose="020B0604020202020204" pitchFamily="34" charset="0"/>
              <a:buChar char="•"/>
            </a:pPr>
            <a:r>
              <a:rPr lang="en-US" sz="2400" spc="-24" dirty="0"/>
              <a:t>Advocacy </a:t>
            </a:r>
          </a:p>
          <a:p>
            <a:pPr marL="914400" lvl="1" indent="-228600">
              <a:lnSpc>
                <a:spcPct val="90000"/>
              </a:lnSpc>
              <a:spcAft>
                <a:spcPts val="600"/>
              </a:spcAft>
              <a:buFont typeface="Arial" panose="020B0604020202020204" pitchFamily="34" charset="0"/>
              <a:buChar char="•"/>
            </a:pPr>
            <a:r>
              <a:rPr lang="en-US" sz="2400" spc="-24" dirty="0"/>
              <a:t>Counselling</a:t>
            </a:r>
          </a:p>
          <a:p>
            <a:pPr marL="914400" lvl="1" indent="-228600">
              <a:lnSpc>
                <a:spcPct val="90000"/>
              </a:lnSpc>
              <a:spcAft>
                <a:spcPts val="600"/>
              </a:spcAft>
              <a:buFont typeface="Arial" panose="020B0604020202020204" pitchFamily="34" charset="0"/>
              <a:buChar char="•"/>
            </a:pPr>
            <a:r>
              <a:rPr lang="en-US" sz="2400" spc="-24" dirty="0"/>
              <a:t>Education and empowerment of vulnerable adolescent girls and boys</a:t>
            </a:r>
          </a:p>
          <a:p>
            <a:pPr marL="914400" lvl="1" indent="-228600">
              <a:lnSpc>
                <a:spcPct val="90000"/>
              </a:lnSpc>
              <a:spcAft>
                <a:spcPts val="600"/>
              </a:spcAft>
              <a:buFont typeface="Arial" panose="020B0604020202020204" pitchFamily="34" charset="0"/>
              <a:buChar char="•"/>
            </a:pPr>
            <a:r>
              <a:rPr lang="en-US" sz="2400" spc="-24" dirty="0"/>
              <a:t>Provision of adolescent healthcare needs</a:t>
            </a:r>
          </a:p>
          <a:p>
            <a:pPr marL="914400" lvl="1" indent="-228600">
              <a:lnSpc>
                <a:spcPct val="90000"/>
              </a:lnSpc>
              <a:spcAft>
                <a:spcPts val="600"/>
              </a:spcAft>
              <a:buFont typeface="Arial" panose="020B0604020202020204" pitchFamily="34" charset="0"/>
              <a:buChar char="•"/>
            </a:pPr>
            <a:r>
              <a:rPr lang="en-US" sz="2400" spc="-24" dirty="0"/>
              <a:t>Supporting other ASRH interventions</a:t>
            </a:r>
            <a:endParaRPr lang="en-US" sz="2400" dirty="0"/>
          </a:p>
        </p:txBody>
      </p:sp>
    </p:spTree>
    <p:extLst>
      <p:ext uri="{BB962C8B-B14F-4D97-AF65-F5344CB8AC3E}">
        <p14:creationId xmlns:p14="http://schemas.microsoft.com/office/powerpoint/2010/main" val="24442024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9">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82102"/>
            <a:ext cx="14630400" cy="8838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174">
            <a:extLst>
              <a:ext uri="{FF2B5EF4-FFF2-40B4-BE49-F238E27FC236}">
                <a16:creationId xmlns:a16="http://schemas.microsoft.com/office/drawing/2014/main" id="{E87C91C8-ABD9-9040-B94B-40B7C6A43E1A}"/>
              </a:ext>
            </a:extLst>
          </p:cNvPr>
          <p:cNvSpPr/>
          <p:nvPr/>
        </p:nvSpPr>
        <p:spPr>
          <a:xfrm>
            <a:off x="667838" y="772160"/>
            <a:ext cx="13453110" cy="893803"/>
          </a:xfrm>
          <a:prstGeom prst="rect">
            <a:avLst/>
          </a:prstGeom>
        </p:spPr>
        <p:txBody>
          <a:bodyPr vert="horz" lIns="91440" tIns="45720" rIns="91440" bIns="45720" rtlCol="0" anchor="ctr">
            <a:normAutofit/>
          </a:bodyPr>
          <a:lstStyle/>
          <a:p>
            <a:pPr marL="0" indent="0" algn="ctr">
              <a:lnSpc>
                <a:spcPct val="90000"/>
              </a:lnSpc>
              <a:spcBef>
                <a:spcPct val="0"/>
              </a:spcBef>
              <a:spcAft>
                <a:spcPts val="600"/>
              </a:spcAft>
            </a:pPr>
            <a:r>
              <a:rPr lang="en-US" sz="3800" b="1" kern="1200" spc="-24">
                <a:solidFill>
                  <a:schemeClr val="bg1"/>
                </a:solidFill>
                <a:latin typeface="+mj-lt"/>
                <a:ea typeface="+mj-ea"/>
                <a:cs typeface="+mj-cs"/>
              </a:rPr>
              <a:t>Funding Sources and Strategies for ASRH Interventions in Ghana</a:t>
            </a:r>
            <a:endParaRPr lang="en-US" sz="3800" kern="1200">
              <a:solidFill>
                <a:schemeClr val="bg1"/>
              </a:solidFill>
              <a:latin typeface="+mj-lt"/>
              <a:ea typeface="+mj-ea"/>
              <a:cs typeface="+mj-cs"/>
            </a:endParaRPr>
          </a:p>
        </p:txBody>
      </p:sp>
      <p:graphicFrame>
        <p:nvGraphicFramePr>
          <p:cNvPr id="5" name="Table 4">
            <a:extLst>
              <a:ext uri="{FF2B5EF4-FFF2-40B4-BE49-F238E27FC236}">
                <a16:creationId xmlns:a16="http://schemas.microsoft.com/office/drawing/2014/main" id="{A3175A20-6819-E34D-B01A-3946F2266C84}"/>
              </a:ext>
            </a:extLst>
          </p:cNvPr>
          <p:cNvGraphicFramePr>
            <a:graphicFrameLocks noGrp="1"/>
          </p:cNvGraphicFramePr>
          <p:nvPr>
            <p:extLst>
              <p:ext uri="{D42A27DB-BD31-4B8C-83A1-F6EECF244321}">
                <p14:modId xmlns:p14="http://schemas.microsoft.com/office/powerpoint/2010/main" val="1204109497"/>
              </p:ext>
            </p:extLst>
          </p:nvPr>
        </p:nvGraphicFramePr>
        <p:xfrm>
          <a:off x="1371600" y="1913467"/>
          <a:ext cx="11125453" cy="6022745"/>
        </p:xfrm>
        <a:graphic>
          <a:graphicData uri="http://schemas.openxmlformats.org/drawingml/2006/table">
            <a:tbl>
              <a:tblPr firstRow="1" firstCol="1" bandRow="1">
                <a:noFill/>
                <a:tableStyleId>{5C22544A-7EE6-4342-B048-85BDC9FD1C3A}</a:tableStyleId>
              </a:tblPr>
              <a:tblGrid>
                <a:gridCol w="5598345">
                  <a:extLst>
                    <a:ext uri="{9D8B030D-6E8A-4147-A177-3AD203B41FA5}">
                      <a16:colId xmlns:a16="http://schemas.microsoft.com/office/drawing/2014/main" val="393751448"/>
                    </a:ext>
                  </a:extLst>
                </a:gridCol>
                <a:gridCol w="5527108">
                  <a:extLst>
                    <a:ext uri="{9D8B030D-6E8A-4147-A177-3AD203B41FA5}">
                      <a16:colId xmlns:a16="http://schemas.microsoft.com/office/drawing/2014/main" val="1363436691"/>
                    </a:ext>
                  </a:extLst>
                </a:gridCol>
              </a:tblGrid>
              <a:tr h="519053">
                <a:tc>
                  <a:txBody>
                    <a:bodyPr/>
                    <a:lstStyle/>
                    <a:p>
                      <a:pPr algn="just">
                        <a:lnSpc>
                          <a:spcPct val="107000"/>
                        </a:lnSpc>
                        <a:spcAft>
                          <a:spcPts val="800"/>
                        </a:spcAft>
                      </a:pPr>
                      <a:r>
                        <a:rPr lang="en-GB" sz="2000" b="1" cap="none" spc="0" dirty="0">
                          <a:solidFill>
                            <a:schemeClr val="tx1"/>
                          </a:solidFill>
                          <a:effectLst/>
                        </a:rPr>
                        <a:t>Participant institution</a:t>
                      </a:r>
                      <a:endParaRPr lang="en-GH" sz="2000" b="1"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18432" marB="92158" anchor="b">
                    <a:lnL w="12700" cmpd="sng">
                      <a:noFill/>
                    </a:lnL>
                    <a:lnR w="12700" cmpd="sng">
                      <a:noFill/>
                    </a:lnR>
                    <a:lnT w="9525" cap="flat" cmpd="sng" algn="ctr">
                      <a:noFill/>
                      <a:prstDash val="solid"/>
                    </a:lnT>
                    <a:lnB w="38100" cmpd="sng">
                      <a:noFill/>
                    </a:lnB>
                    <a:noFill/>
                  </a:tcPr>
                </a:tc>
                <a:tc>
                  <a:txBody>
                    <a:bodyPr/>
                    <a:lstStyle/>
                    <a:p>
                      <a:pPr algn="just">
                        <a:lnSpc>
                          <a:spcPct val="107000"/>
                        </a:lnSpc>
                        <a:spcAft>
                          <a:spcPts val="800"/>
                        </a:spcAft>
                      </a:pPr>
                      <a:r>
                        <a:rPr lang="en-GB" sz="2000" b="1" cap="none" spc="0" dirty="0">
                          <a:solidFill>
                            <a:schemeClr val="tx1"/>
                          </a:solidFill>
                          <a:effectLst/>
                        </a:rPr>
                        <a:t>The main sources of funding for ASRH interventions</a:t>
                      </a:r>
                      <a:endParaRPr lang="en-GH" sz="2000" b="1"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18432" marB="92158" anchor="b">
                    <a:lnL w="12700" cmpd="sng">
                      <a:noFill/>
                    </a:lnL>
                    <a:lnR w="12700" cmpd="sng">
                      <a:noFill/>
                    </a:lnR>
                    <a:lnT w="9525" cap="flat" cmpd="sng" algn="ctr">
                      <a:noFill/>
                      <a:prstDash val="solid"/>
                    </a:lnT>
                    <a:lnB w="38100" cmpd="sng">
                      <a:noFill/>
                    </a:lnB>
                    <a:noFill/>
                  </a:tcPr>
                </a:tc>
                <a:extLst>
                  <a:ext uri="{0D108BD9-81ED-4DB2-BD59-A6C34878D82A}">
                    <a16:rowId xmlns:a16="http://schemas.microsoft.com/office/drawing/2014/main" val="938670265"/>
                  </a:ext>
                </a:extLst>
              </a:tr>
              <a:tr h="406328">
                <a:tc>
                  <a:txBody>
                    <a:bodyPr/>
                    <a:lstStyle/>
                    <a:p>
                      <a:pPr algn="just">
                        <a:lnSpc>
                          <a:spcPct val="107000"/>
                        </a:lnSpc>
                        <a:spcAft>
                          <a:spcPts val="800"/>
                        </a:spcAft>
                      </a:pPr>
                      <a:r>
                        <a:rPr lang="en-GB" sz="2000" b="0" cap="none" spc="0" dirty="0">
                          <a:solidFill>
                            <a:schemeClr val="tx1"/>
                          </a:solidFill>
                          <a:effectLst/>
                        </a:rPr>
                        <a:t>Public Sector</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38100" cmpd="sng">
                      <a:noFill/>
                    </a:lnT>
                    <a:lnB w="9525" cap="flat" cmpd="sng" algn="ctr">
                      <a:solidFill>
                        <a:schemeClr val="tx1"/>
                      </a:solidFill>
                      <a:prstDash val="solid"/>
                    </a:lnB>
                    <a:noFill/>
                  </a:tcPr>
                </a:tc>
                <a:tc>
                  <a:txBody>
                    <a:bodyPr/>
                    <a:lstStyle/>
                    <a:p>
                      <a:pPr algn="just">
                        <a:lnSpc>
                          <a:spcPct val="107000"/>
                        </a:lnSpc>
                        <a:spcAft>
                          <a:spcPts val="800"/>
                        </a:spcAft>
                      </a:pPr>
                      <a:r>
                        <a:rPr lang="en-GB" sz="2000" cap="none" spc="0" dirty="0">
                          <a:solidFill>
                            <a:schemeClr val="tx1"/>
                          </a:solidFill>
                          <a:effectLst/>
                        </a:rPr>
                        <a:t> </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38100" cmpd="sng">
                      <a:noFill/>
                    </a:lnT>
                    <a:lnB w="9525" cap="flat" cmpd="sng" algn="ctr">
                      <a:solidFill>
                        <a:schemeClr val="tx1"/>
                      </a:solidFill>
                      <a:prstDash val="solid"/>
                    </a:lnB>
                    <a:noFill/>
                  </a:tcPr>
                </a:tc>
                <a:extLst>
                  <a:ext uri="{0D108BD9-81ED-4DB2-BD59-A6C34878D82A}">
                    <a16:rowId xmlns:a16="http://schemas.microsoft.com/office/drawing/2014/main" val="603423325"/>
                  </a:ext>
                </a:extLst>
              </a:tr>
              <a:tr h="406328">
                <a:tc>
                  <a:txBody>
                    <a:bodyPr/>
                    <a:lstStyle/>
                    <a:p>
                      <a:pPr algn="just">
                        <a:lnSpc>
                          <a:spcPct val="107000"/>
                        </a:lnSpc>
                        <a:spcAft>
                          <a:spcPts val="800"/>
                        </a:spcAft>
                      </a:pPr>
                      <a:r>
                        <a:rPr lang="en-GB" sz="2000" b="0" cap="none" spc="0" dirty="0">
                          <a:solidFill>
                            <a:schemeClr val="tx1"/>
                          </a:solidFill>
                          <a:effectLst/>
                        </a:rPr>
                        <a:t>   Ministry of Health</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07000"/>
                        </a:lnSpc>
                        <a:spcAft>
                          <a:spcPts val="800"/>
                        </a:spcAft>
                      </a:pPr>
                      <a:r>
                        <a:rPr lang="en-GB" sz="2000" cap="none" spc="0" dirty="0">
                          <a:solidFill>
                            <a:schemeClr val="tx1"/>
                          </a:solidFill>
                          <a:effectLst/>
                        </a:rPr>
                        <a:t>UNFPA, USAID, World Bank, Government</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4204867304"/>
                  </a:ext>
                </a:extLst>
              </a:tr>
              <a:tr h="406328">
                <a:tc>
                  <a:txBody>
                    <a:bodyPr/>
                    <a:lstStyle/>
                    <a:p>
                      <a:pPr algn="just">
                        <a:lnSpc>
                          <a:spcPct val="107000"/>
                        </a:lnSpc>
                        <a:spcAft>
                          <a:spcPts val="800"/>
                        </a:spcAft>
                      </a:pPr>
                      <a:r>
                        <a:rPr lang="en-GB" sz="2000" b="0" cap="none" spc="0" dirty="0">
                          <a:solidFill>
                            <a:schemeClr val="tx1"/>
                          </a:solidFill>
                          <a:effectLst/>
                        </a:rPr>
                        <a:t>   Ghana Health Service</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tc>
                  <a:txBody>
                    <a:bodyPr/>
                    <a:lstStyle/>
                    <a:p>
                      <a:pPr algn="just">
                        <a:lnSpc>
                          <a:spcPct val="107000"/>
                        </a:lnSpc>
                        <a:spcAft>
                          <a:spcPts val="800"/>
                        </a:spcAft>
                      </a:pPr>
                      <a:r>
                        <a:rPr lang="en-GB" sz="2000" cap="none" spc="0">
                          <a:solidFill>
                            <a:schemeClr val="tx1"/>
                          </a:solidFill>
                          <a:effectLst/>
                        </a:rPr>
                        <a:t>UNFPA, USAID, DANIDA, Government</a:t>
                      </a:r>
                      <a:endParaRPr lang="en-GH" sz="200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extLst>
                  <a:ext uri="{0D108BD9-81ED-4DB2-BD59-A6C34878D82A}">
                    <a16:rowId xmlns:a16="http://schemas.microsoft.com/office/drawing/2014/main" val="3740686626"/>
                  </a:ext>
                </a:extLst>
              </a:tr>
              <a:tr h="406328">
                <a:tc>
                  <a:txBody>
                    <a:bodyPr/>
                    <a:lstStyle/>
                    <a:p>
                      <a:pPr algn="just">
                        <a:lnSpc>
                          <a:spcPct val="107000"/>
                        </a:lnSpc>
                        <a:spcAft>
                          <a:spcPts val="800"/>
                        </a:spcAft>
                      </a:pPr>
                      <a:r>
                        <a:rPr lang="en-GB" sz="2000" b="0" cap="none" spc="0" dirty="0">
                          <a:solidFill>
                            <a:schemeClr val="tx1"/>
                          </a:solidFill>
                          <a:effectLst/>
                        </a:rPr>
                        <a:t>   Ministry of Education</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07000"/>
                        </a:lnSpc>
                        <a:spcAft>
                          <a:spcPts val="800"/>
                        </a:spcAft>
                      </a:pPr>
                      <a:r>
                        <a:rPr lang="en-GB" sz="2000" cap="none" spc="0" dirty="0">
                          <a:solidFill>
                            <a:schemeClr val="tx1"/>
                          </a:solidFill>
                          <a:effectLst/>
                        </a:rPr>
                        <a:t>USAID, UNICEF</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2093099266"/>
                  </a:ext>
                </a:extLst>
              </a:tr>
              <a:tr h="406328">
                <a:tc>
                  <a:txBody>
                    <a:bodyPr/>
                    <a:lstStyle/>
                    <a:p>
                      <a:pPr algn="just">
                        <a:lnSpc>
                          <a:spcPct val="107000"/>
                        </a:lnSpc>
                        <a:spcAft>
                          <a:spcPts val="800"/>
                        </a:spcAft>
                      </a:pPr>
                      <a:r>
                        <a:rPr lang="en-GB" sz="2000" b="0" cap="none" spc="0" dirty="0">
                          <a:solidFill>
                            <a:schemeClr val="tx1"/>
                          </a:solidFill>
                          <a:effectLst/>
                        </a:rPr>
                        <a:t>   Ministry of Gender, Children and Social Protection</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tc>
                  <a:txBody>
                    <a:bodyPr/>
                    <a:lstStyle/>
                    <a:p>
                      <a:pPr algn="just">
                        <a:lnSpc>
                          <a:spcPct val="107000"/>
                        </a:lnSpc>
                        <a:spcAft>
                          <a:spcPts val="800"/>
                        </a:spcAft>
                      </a:pPr>
                      <a:r>
                        <a:rPr lang="en-GB" sz="2000" cap="none" spc="0">
                          <a:solidFill>
                            <a:schemeClr val="tx1"/>
                          </a:solidFill>
                          <a:effectLst/>
                        </a:rPr>
                        <a:t>UNFPA, GoG</a:t>
                      </a:r>
                      <a:endParaRPr lang="en-GH" sz="200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extLst>
                  <a:ext uri="{0D108BD9-81ED-4DB2-BD59-A6C34878D82A}">
                    <a16:rowId xmlns:a16="http://schemas.microsoft.com/office/drawing/2014/main" val="751356805"/>
                  </a:ext>
                </a:extLst>
              </a:tr>
              <a:tr h="406328">
                <a:tc>
                  <a:txBody>
                    <a:bodyPr/>
                    <a:lstStyle/>
                    <a:p>
                      <a:pPr algn="just">
                        <a:lnSpc>
                          <a:spcPct val="107000"/>
                        </a:lnSpc>
                        <a:spcAft>
                          <a:spcPts val="800"/>
                        </a:spcAft>
                      </a:pPr>
                      <a:r>
                        <a:rPr lang="en-GB" sz="2000" b="0" cap="none" spc="0" dirty="0">
                          <a:solidFill>
                            <a:schemeClr val="tx1"/>
                          </a:solidFill>
                          <a:effectLst/>
                        </a:rPr>
                        <a:t>   National Youth Authority</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07000"/>
                        </a:lnSpc>
                        <a:spcAft>
                          <a:spcPts val="800"/>
                        </a:spcAft>
                      </a:pPr>
                      <a:r>
                        <a:rPr lang="en-GB" sz="2000" cap="none" spc="0">
                          <a:solidFill>
                            <a:schemeClr val="tx1"/>
                          </a:solidFill>
                          <a:effectLst/>
                        </a:rPr>
                        <a:t>UNFPA, GoG</a:t>
                      </a:r>
                      <a:endParaRPr lang="en-GH" sz="200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4220908706"/>
                  </a:ext>
                </a:extLst>
              </a:tr>
              <a:tr h="406328">
                <a:tc>
                  <a:txBody>
                    <a:bodyPr/>
                    <a:lstStyle/>
                    <a:p>
                      <a:pPr algn="just">
                        <a:lnSpc>
                          <a:spcPct val="107000"/>
                        </a:lnSpc>
                        <a:spcAft>
                          <a:spcPts val="800"/>
                        </a:spcAft>
                      </a:pPr>
                      <a:r>
                        <a:rPr lang="en-GB" sz="2000" b="0" cap="none" spc="0" dirty="0">
                          <a:solidFill>
                            <a:schemeClr val="tx1"/>
                          </a:solidFill>
                          <a:effectLst/>
                        </a:rPr>
                        <a:t>NGOs</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tc>
                  <a:txBody>
                    <a:bodyPr/>
                    <a:lstStyle/>
                    <a:p>
                      <a:pPr algn="just">
                        <a:lnSpc>
                          <a:spcPct val="107000"/>
                        </a:lnSpc>
                        <a:spcAft>
                          <a:spcPts val="800"/>
                        </a:spcAft>
                      </a:pPr>
                      <a:r>
                        <a:rPr lang="en-GB" sz="2000" cap="none" spc="0">
                          <a:solidFill>
                            <a:schemeClr val="tx1"/>
                          </a:solidFill>
                          <a:effectLst/>
                        </a:rPr>
                        <a:t> </a:t>
                      </a:r>
                      <a:endParaRPr lang="en-GH" sz="200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extLst>
                  <a:ext uri="{0D108BD9-81ED-4DB2-BD59-A6C34878D82A}">
                    <a16:rowId xmlns:a16="http://schemas.microsoft.com/office/drawing/2014/main" val="2769657330"/>
                  </a:ext>
                </a:extLst>
              </a:tr>
              <a:tr h="406328">
                <a:tc>
                  <a:txBody>
                    <a:bodyPr/>
                    <a:lstStyle/>
                    <a:p>
                      <a:pPr algn="just">
                        <a:lnSpc>
                          <a:spcPct val="107000"/>
                        </a:lnSpc>
                        <a:spcAft>
                          <a:spcPts val="800"/>
                        </a:spcAft>
                      </a:pPr>
                      <a:r>
                        <a:rPr lang="en-GB" sz="2000" b="0" cap="none" spc="0" dirty="0">
                          <a:solidFill>
                            <a:schemeClr val="tx1"/>
                          </a:solidFill>
                          <a:effectLst/>
                        </a:rPr>
                        <a:t>  Alliance for Reproductive Health Right</a:t>
                      </a:r>
                      <a:endParaRPr lang="en-GH" sz="2000" b="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07000"/>
                        </a:lnSpc>
                        <a:spcAft>
                          <a:spcPts val="800"/>
                        </a:spcAft>
                      </a:pPr>
                      <a:r>
                        <a:rPr lang="en-GB" sz="2000" cap="none" spc="0" dirty="0">
                          <a:solidFill>
                            <a:schemeClr val="tx1"/>
                          </a:solidFill>
                          <a:effectLst/>
                        </a:rPr>
                        <a:t>UNFPA, French Embassy</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641487963"/>
                  </a:ext>
                </a:extLst>
              </a:tr>
              <a:tr h="406328">
                <a:tc>
                  <a:txBody>
                    <a:bodyPr/>
                    <a:lstStyle/>
                    <a:p>
                      <a:pPr algn="just">
                        <a:lnSpc>
                          <a:spcPct val="107000"/>
                        </a:lnSpc>
                        <a:spcAft>
                          <a:spcPts val="800"/>
                        </a:spcAft>
                      </a:pPr>
                      <a:r>
                        <a:rPr lang="en-GB" sz="2000" b="0" cap="none" spc="0">
                          <a:solidFill>
                            <a:schemeClr val="tx1"/>
                          </a:solidFill>
                          <a:effectLst/>
                        </a:rPr>
                        <a:t>  DKT International Ghana</a:t>
                      </a:r>
                      <a:endParaRPr lang="en-GH" sz="2000" b="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tc>
                  <a:txBody>
                    <a:bodyPr/>
                    <a:lstStyle/>
                    <a:p>
                      <a:pPr algn="just">
                        <a:lnSpc>
                          <a:spcPct val="107000"/>
                        </a:lnSpc>
                        <a:spcAft>
                          <a:spcPts val="800"/>
                        </a:spcAft>
                      </a:pPr>
                      <a:r>
                        <a:rPr lang="en-GB" sz="2000" cap="none" spc="0" dirty="0">
                          <a:solidFill>
                            <a:schemeClr val="tx1"/>
                          </a:solidFill>
                          <a:effectLst/>
                        </a:rPr>
                        <a:t>IGF</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extLst>
                  <a:ext uri="{0D108BD9-81ED-4DB2-BD59-A6C34878D82A}">
                    <a16:rowId xmlns:a16="http://schemas.microsoft.com/office/drawing/2014/main" val="1013012600"/>
                  </a:ext>
                </a:extLst>
              </a:tr>
              <a:tr h="406328">
                <a:tc>
                  <a:txBody>
                    <a:bodyPr/>
                    <a:lstStyle/>
                    <a:p>
                      <a:pPr algn="just">
                        <a:lnSpc>
                          <a:spcPct val="107000"/>
                        </a:lnSpc>
                        <a:spcAft>
                          <a:spcPts val="800"/>
                        </a:spcAft>
                      </a:pPr>
                      <a:r>
                        <a:rPr lang="en-GB" sz="2000" b="0" cap="none" spc="0">
                          <a:solidFill>
                            <a:schemeClr val="tx1"/>
                          </a:solidFill>
                          <a:effectLst/>
                        </a:rPr>
                        <a:t>  Plan International Ghana</a:t>
                      </a:r>
                      <a:endParaRPr lang="en-GH" sz="2000" b="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07000"/>
                        </a:lnSpc>
                        <a:spcAft>
                          <a:spcPts val="800"/>
                        </a:spcAft>
                      </a:pPr>
                      <a:r>
                        <a:rPr lang="en-GB" sz="2000" cap="none" spc="0" dirty="0">
                          <a:solidFill>
                            <a:schemeClr val="tx1"/>
                          </a:solidFill>
                          <a:effectLst/>
                        </a:rPr>
                        <a:t>Institutional, national, and individual volunteers/partners</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656394598"/>
                  </a:ext>
                </a:extLst>
              </a:tr>
              <a:tr h="406328">
                <a:tc>
                  <a:txBody>
                    <a:bodyPr/>
                    <a:lstStyle/>
                    <a:p>
                      <a:pPr algn="just">
                        <a:lnSpc>
                          <a:spcPct val="107000"/>
                        </a:lnSpc>
                        <a:spcAft>
                          <a:spcPts val="800"/>
                        </a:spcAft>
                      </a:pPr>
                      <a:r>
                        <a:rPr lang="en-GB" sz="2000" b="0" cap="none" spc="0">
                          <a:solidFill>
                            <a:schemeClr val="tx1"/>
                          </a:solidFill>
                          <a:effectLst/>
                        </a:rPr>
                        <a:t>  Planned Parenthood Association of Ghana</a:t>
                      </a:r>
                      <a:endParaRPr lang="en-GH" sz="2000" b="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tc>
                  <a:txBody>
                    <a:bodyPr/>
                    <a:lstStyle/>
                    <a:p>
                      <a:pPr algn="just">
                        <a:lnSpc>
                          <a:spcPct val="107000"/>
                        </a:lnSpc>
                        <a:spcAft>
                          <a:spcPts val="800"/>
                        </a:spcAft>
                      </a:pPr>
                      <a:r>
                        <a:rPr lang="en-GB" sz="2000" cap="none" spc="0" dirty="0">
                          <a:solidFill>
                            <a:schemeClr val="tx1"/>
                          </a:solidFill>
                          <a:effectLst/>
                        </a:rPr>
                        <a:t>UNFPA, UNAID</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12700" cmpd="sng">
                      <a:noFill/>
                      <a:prstDash val="solid"/>
                    </a:lnT>
                    <a:lnB w="9525" cap="flat" cmpd="sng" algn="ctr">
                      <a:solidFill>
                        <a:schemeClr val="tx1"/>
                      </a:solidFill>
                      <a:prstDash val="solid"/>
                    </a:lnB>
                    <a:noFill/>
                  </a:tcPr>
                </a:tc>
                <a:extLst>
                  <a:ext uri="{0D108BD9-81ED-4DB2-BD59-A6C34878D82A}">
                    <a16:rowId xmlns:a16="http://schemas.microsoft.com/office/drawing/2014/main" val="2598512209"/>
                  </a:ext>
                </a:extLst>
              </a:tr>
              <a:tr h="406328">
                <a:tc>
                  <a:txBody>
                    <a:bodyPr/>
                    <a:lstStyle/>
                    <a:p>
                      <a:pPr algn="just">
                        <a:lnSpc>
                          <a:spcPct val="107000"/>
                        </a:lnSpc>
                        <a:spcAft>
                          <a:spcPts val="800"/>
                        </a:spcAft>
                      </a:pPr>
                      <a:r>
                        <a:rPr lang="en-GB" sz="2000" b="0" cap="none" spc="0">
                          <a:solidFill>
                            <a:schemeClr val="tx1"/>
                          </a:solidFill>
                          <a:effectLst/>
                        </a:rPr>
                        <a:t>  Marie Stopes International, Ghana</a:t>
                      </a:r>
                      <a:endParaRPr lang="en-GH" sz="2000" b="0" cap="none" spc="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tc>
                  <a:txBody>
                    <a:bodyPr/>
                    <a:lstStyle/>
                    <a:p>
                      <a:pPr algn="just">
                        <a:lnSpc>
                          <a:spcPct val="107000"/>
                        </a:lnSpc>
                        <a:spcAft>
                          <a:spcPts val="800"/>
                        </a:spcAft>
                      </a:pPr>
                      <a:r>
                        <a:rPr lang="en-GB" sz="2000" cap="none" spc="0" dirty="0">
                          <a:solidFill>
                            <a:schemeClr val="tx1"/>
                          </a:solidFill>
                          <a:effectLst/>
                        </a:rPr>
                        <a:t>UKAID, USAID, DANIDA </a:t>
                      </a:r>
                      <a:endParaRPr lang="en-GH" sz="2000" cap="none" spc="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0" marR="69118" marT="27647" marB="92158">
                    <a:lnL w="12700" cmpd="sng">
                      <a:noFill/>
                      <a:prstDash val="solid"/>
                    </a:lnL>
                    <a:lnR w="12700" cmpd="sng">
                      <a:noFill/>
                      <a:prstDash val="solid"/>
                    </a:lnR>
                    <a:lnT w="9525" cap="flat" cmpd="sng" algn="ctr">
                      <a:solidFill>
                        <a:schemeClr val="tx1"/>
                      </a:solidFill>
                      <a:prstDash val="solid"/>
                    </a:lnT>
                    <a:lnB w="12700" cmpd="sng">
                      <a:noFill/>
                      <a:prstDash val="solid"/>
                    </a:lnB>
                    <a:solidFill>
                      <a:schemeClr val="bg1">
                        <a:lumMod val="95000"/>
                      </a:schemeClr>
                    </a:solidFill>
                  </a:tcPr>
                </a:tc>
                <a:extLst>
                  <a:ext uri="{0D108BD9-81ED-4DB2-BD59-A6C34878D82A}">
                    <a16:rowId xmlns:a16="http://schemas.microsoft.com/office/drawing/2014/main" val="1680740041"/>
                  </a:ext>
                </a:extLst>
              </a:tr>
            </a:tbl>
          </a:graphicData>
        </a:graphic>
      </p:graphicFrame>
    </p:spTree>
    <p:extLst>
      <p:ext uri="{BB962C8B-B14F-4D97-AF65-F5344CB8AC3E}">
        <p14:creationId xmlns:p14="http://schemas.microsoft.com/office/powerpoint/2010/main" val="25002897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name="Slide 5">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F6F4F4"/>
          </a:solidFill>
          <a:ln/>
        </p:spPr>
      </p:sp>
      <p:sp>
        <p:nvSpPr>
          <p:cNvPr id="3" name="Shape 1"/>
          <p:cNvSpPr/>
          <p:nvPr/>
        </p:nvSpPr>
        <p:spPr>
          <a:xfrm>
            <a:off x="0" y="0"/>
            <a:ext cx="14630400" cy="8229600"/>
          </a:xfrm>
          <a:prstGeom prst="rect">
            <a:avLst/>
          </a:prstGeom>
          <a:solidFill>
            <a:srgbClr val="FFFFFF"/>
          </a:solidFill>
          <a:ln w="7620">
            <a:solidFill>
              <a:srgbClr val="E5E0DF"/>
            </a:solidFill>
            <a:prstDash val="solid"/>
          </a:ln>
        </p:spPr>
        <p:txBody>
          <a:bodyPr/>
          <a:lstStyle/>
          <a:p>
            <a:endParaRPr lang="en-GH" dirty="0"/>
          </a:p>
        </p:txBody>
      </p:sp>
      <p:sp>
        <p:nvSpPr>
          <p:cNvPr id="4" name="Text 2"/>
          <p:cNvSpPr/>
          <p:nvPr/>
        </p:nvSpPr>
        <p:spPr>
          <a:xfrm>
            <a:off x="5828532" y="578538"/>
            <a:ext cx="7477601" cy="962396"/>
          </a:xfrm>
          <a:prstGeom prst="rect">
            <a:avLst/>
          </a:prstGeom>
          <a:noFill/>
          <a:ln/>
        </p:spPr>
        <p:txBody>
          <a:bodyPr wrap="square" rtlCol="0" anchor="t"/>
          <a:lstStyle/>
          <a:p>
            <a:pPr marL="0" indent="0">
              <a:lnSpc>
                <a:spcPts val="5686"/>
              </a:lnSpc>
              <a:buNone/>
            </a:pPr>
            <a:r>
              <a:rPr lang="en-US" sz="3600" b="1" kern="0" spc="-131" dirty="0">
                <a:solidFill>
                  <a:srgbClr val="000000"/>
                </a:solidFill>
                <a:latin typeface="Inter" pitchFamily="34" charset="0"/>
                <a:ea typeface="Inter" pitchFamily="34" charset="-122"/>
                <a:cs typeface="Inter" pitchFamily="34" charset="-120"/>
              </a:rPr>
              <a:t>Perspectives on ASRH Funding in Ghana</a:t>
            </a:r>
            <a:endParaRPr lang="en-US" sz="3600" dirty="0"/>
          </a:p>
        </p:txBody>
      </p:sp>
      <p:sp>
        <p:nvSpPr>
          <p:cNvPr id="5" name="Text 3"/>
          <p:cNvSpPr/>
          <p:nvPr/>
        </p:nvSpPr>
        <p:spPr>
          <a:xfrm>
            <a:off x="5828531" y="1886678"/>
            <a:ext cx="7477601" cy="2837722"/>
          </a:xfrm>
          <a:prstGeom prst="rect">
            <a:avLst/>
          </a:prstGeom>
          <a:noFill/>
          <a:ln/>
        </p:spPr>
        <p:txBody>
          <a:bodyPr wrap="square" rtlCol="0" anchor="t"/>
          <a:lstStyle/>
          <a:p>
            <a:pPr marL="0" indent="0">
              <a:lnSpc>
                <a:spcPts val="3149"/>
              </a:lnSpc>
              <a:buNone/>
            </a:pPr>
            <a:r>
              <a:rPr lang="en-GB" sz="2400" dirty="0">
                <a:effectLst/>
                <a:latin typeface="Georgia" panose="02040502050405020303" pitchFamily="18" charset="0"/>
                <a:ea typeface="Calibri" panose="020F0502020204030204" pitchFamily="34" charset="0"/>
                <a:cs typeface="Times New Roman" panose="02020603050405020304" pitchFamily="18" charset="0"/>
              </a:rPr>
              <a:t>Ten out of the eleven participants said there was </a:t>
            </a:r>
            <a:r>
              <a:rPr lang="en-GB" sz="2400" b="1" dirty="0">
                <a:effectLst/>
                <a:latin typeface="Georgia" panose="02040502050405020303" pitchFamily="18" charset="0"/>
                <a:ea typeface="Calibri" panose="020F0502020204030204" pitchFamily="34" charset="0"/>
                <a:cs typeface="Times New Roman" panose="02020603050405020304" pitchFamily="18" charset="0"/>
              </a:rPr>
              <a:t>no specific national budget designated to finance ASRH interventions in Ghana</a:t>
            </a:r>
            <a:r>
              <a:rPr lang="en-GB" sz="2400" dirty="0">
                <a:effectLst/>
                <a:latin typeface="Georgia" panose="02040502050405020303" pitchFamily="18" charset="0"/>
                <a:ea typeface="Calibri" panose="020F0502020204030204" pitchFamily="34" charset="0"/>
                <a:cs typeface="Times New Roman" panose="02020603050405020304" pitchFamily="18" charset="0"/>
              </a:rPr>
              <a:t>.</a:t>
            </a:r>
          </a:p>
          <a:p>
            <a:pPr marL="0" indent="0">
              <a:lnSpc>
                <a:spcPts val="3149"/>
              </a:lnSpc>
              <a:buNone/>
            </a:pPr>
            <a:endParaRPr lang="en-GB" sz="2400" dirty="0">
              <a:latin typeface="Georgia" panose="02040502050405020303" pitchFamily="18" charset="0"/>
              <a:ea typeface="Calibri" panose="020F0502020204030204" pitchFamily="34" charset="0"/>
              <a:cs typeface="Times New Roman" panose="02020603050405020304" pitchFamily="18" charset="0"/>
            </a:endParaRPr>
          </a:p>
          <a:p>
            <a:pPr marL="0" indent="0">
              <a:lnSpc>
                <a:spcPts val="3149"/>
              </a:lnSpc>
              <a:buNone/>
            </a:pPr>
            <a:r>
              <a:rPr lang="en-GB" sz="2400" dirty="0">
                <a:effectLst/>
                <a:latin typeface="Georgia" panose="02040502050405020303" pitchFamily="18" charset="0"/>
                <a:ea typeface="Calibri" panose="020F0502020204030204" pitchFamily="34" charset="0"/>
                <a:cs typeface="Times New Roman" panose="02020603050405020304" pitchFamily="18" charset="0"/>
              </a:rPr>
              <a:t>Some participants from the public sector said the practice of funding ASRH interventions in Ghana has been to </a:t>
            </a:r>
            <a:r>
              <a:rPr lang="en-GB" sz="2400" b="1" dirty="0">
                <a:effectLst/>
                <a:latin typeface="Georgia" panose="02040502050405020303" pitchFamily="18" charset="0"/>
                <a:ea typeface="Calibri" panose="020F0502020204030204" pitchFamily="34" charset="0"/>
                <a:cs typeface="Times New Roman" panose="02020603050405020304" pitchFamily="18" charset="0"/>
              </a:rPr>
              <a:t>rely mostly on donations or grants from development partners</a:t>
            </a:r>
            <a:r>
              <a:rPr lang="en-GH" sz="2400" b="1" dirty="0">
                <a:effectLst/>
              </a:rPr>
              <a:t> </a:t>
            </a:r>
            <a:endParaRPr lang="en-US" sz="2400" b="1" dirty="0"/>
          </a:p>
        </p:txBody>
      </p:sp>
      <p:pic>
        <p:nvPicPr>
          <p:cNvPr id="6" name="Image 0" descr="preencoded.png"/>
          <p:cNvPicPr>
            <a:picLocks noChangeAspect="1"/>
          </p:cNvPicPr>
          <p:nvPr/>
        </p:nvPicPr>
        <p:blipFill>
          <a:blip r:embed="rId3"/>
          <a:stretch>
            <a:fillRect/>
          </a:stretch>
        </p:blipFill>
        <p:spPr>
          <a:xfrm>
            <a:off x="0" y="0"/>
            <a:ext cx="5486400" cy="8229600"/>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0"/>
          <p:cNvSpPr/>
          <p:nvPr/>
        </p:nvSpPr>
        <p:spPr>
          <a:xfrm>
            <a:off x="0" y="0"/>
            <a:ext cx="14630400" cy="8229600"/>
          </a:xfrm>
          <a:prstGeom prst="rect">
            <a:avLst/>
          </a:prstGeom>
          <a:solidFill>
            <a:srgbClr val="F6F4F4"/>
          </a:solidFill>
          <a:ln/>
        </p:spPr>
        <p:txBody>
          <a:bodyPr/>
          <a:lstStyle/>
          <a:p>
            <a:endParaRPr lang="en-GH" dirty="0"/>
          </a:p>
        </p:txBody>
      </p:sp>
      <p:sp>
        <p:nvSpPr>
          <p:cNvPr id="3" name="Shape 1"/>
          <p:cNvSpPr/>
          <p:nvPr/>
        </p:nvSpPr>
        <p:spPr>
          <a:xfrm>
            <a:off x="6830866" y="1802026"/>
            <a:ext cx="6665001" cy="6028267"/>
          </a:xfrm>
          <a:prstGeom prst="rect">
            <a:avLst/>
          </a:prstGeom>
          <a:solidFill>
            <a:srgbClr val="FFFFFF"/>
          </a:solidFill>
          <a:ln w="7620">
            <a:solidFill>
              <a:srgbClr val="E5E0DF"/>
            </a:solidFill>
            <a:prstDash val="solid"/>
          </a:ln>
        </p:spPr>
        <p:txBody>
          <a:bodyPr/>
          <a:lstStyle/>
          <a:p>
            <a:pPr>
              <a:lnSpc>
                <a:spcPts val="3149"/>
              </a:lnSpc>
            </a:pPr>
            <a:r>
              <a:rPr lang="en-US" sz="2400" dirty="0"/>
              <a:t>This trend can be attributed to a shift in fiscal allocation priorities, with the urgent need for economic recovery due to the global COVID-19 pandemic taking precedence. </a:t>
            </a:r>
          </a:p>
          <a:p>
            <a:pPr>
              <a:lnSpc>
                <a:spcPts val="3149"/>
              </a:lnSpc>
            </a:pPr>
            <a:endParaRPr lang="en-US" sz="2400" dirty="0"/>
          </a:p>
          <a:p>
            <a:pPr>
              <a:lnSpc>
                <a:spcPts val="3149"/>
              </a:lnSpc>
            </a:pPr>
            <a:r>
              <a:rPr lang="en-US" sz="2400" dirty="0"/>
              <a:t>The central government provided less than 30% financial commitment to budgeted ASRH programs from 2020 to 2022, and even the 30% commitment in 2020 was delayed for two years.</a:t>
            </a:r>
          </a:p>
        </p:txBody>
      </p:sp>
      <p:sp>
        <p:nvSpPr>
          <p:cNvPr id="4" name="Text 2"/>
          <p:cNvSpPr/>
          <p:nvPr/>
        </p:nvSpPr>
        <p:spPr>
          <a:xfrm>
            <a:off x="274399" y="289283"/>
            <a:ext cx="11121734" cy="1504262"/>
          </a:xfrm>
          <a:prstGeom prst="rect">
            <a:avLst/>
          </a:prstGeom>
          <a:noFill/>
          <a:ln/>
        </p:spPr>
        <p:txBody>
          <a:bodyPr wrap="square" rtlCol="0" anchor="t"/>
          <a:lstStyle/>
          <a:p>
            <a:pPr marL="0" indent="0">
              <a:lnSpc>
                <a:spcPts val="5686"/>
              </a:lnSpc>
              <a:buNone/>
            </a:pPr>
            <a:r>
              <a:rPr lang="en-US" sz="3600" b="1" kern="0" spc="-131" dirty="0">
                <a:solidFill>
                  <a:srgbClr val="000000"/>
                </a:solidFill>
                <a:latin typeface="Inter" pitchFamily="34" charset="0"/>
                <a:ea typeface="Inter" pitchFamily="34" charset="-122"/>
                <a:cs typeface="Inter" pitchFamily="34" charset="-120"/>
              </a:rPr>
              <a:t>Perspectives on ASRH Funding gap in Ghana (past 5 years)</a:t>
            </a:r>
            <a:endParaRPr lang="en-US" sz="3600" dirty="0"/>
          </a:p>
        </p:txBody>
      </p:sp>
      <p:sp>
        <p:nvSpPr>
          <p:cNvPr id="5" name="Text 3"/>
          <p:cNvSpPr/>
          <p:nvPr/>
        </p:nvSpPr>
        <p:spPr>
          <a:xfrm>
            <a:off x="274398" y="1802026"/>
            <a:ext cx="6007869" cy="5801042"/>
          </a:xfrm>
          <a:prstGeom prst="rect">
            <a:avLst/>
          </a:prstGeom>
          <a:noFill/>
          <a:ln/>
        </p:spPr>
        <p:txBody>
          <a:bodyPr wrap="square" rtlCol="0" anchor="t"/>
          <a:lstStyle/>
          <a:p>
            <a:pPr marL="0" indent="0">
              <a:lnSpc>
                <a:spcPts val="3149"/>
              </a:lnSpc>
              <a:buNone/>
            </a:pPr>
            <a:r>
              <a:rPr lang="en-GB" sz="2400" b="0" i="0" dirty="0">
                <a:solidFill>
                  <a:srgbClr val="374151"/>
                </a:solidFill>
                <a:effectLst/>
                <a:latin typeface="Söhne"/>
              </a:rPr>
              <a:t>The data collected revealed two main perspectives on the funding gap: one from the </a:t>
            </a:r>
            <a:r>
              <a:rPr lang="en-GB" sz="2400" b="1" i="0" dirty="0">
                <a:solidFill>
                  <a:srgbClr val="374151"/>
                </a:solidFill>
                <a:effectLst/>
                <a:latin typeface="Söhne"/>
              </a:rPr>
              <a:t>public sector participants </a:t>
            </a:r>
            <a:r>
              <a:rPr lang="en-GB" sz="2400" b="0" i="0" dirty="0">
                <a:solidFill>
                  <a:srgbClr val="374151"/>
                </a:solidFill>
                <a:effectLst/>
                <a:latin typeface="Söhne"/>
              </a:rPr>
              <a:t>and another from </a:t>
            </a:r>
            <a:r>
              <a:rPr lang="en-GB" sz="2400" b="1" i="0" dirty="0">
                <a:solidFill>
                  <a:srgbClr val="374151"/>
                </a:solidFill>
                <a:effectLst/>
                <a:latin typeface="Söhne"/>
              </a:rPr>
              <a:t>NGO participants</a:t>
            </a:r>
            <a:r>
              <a:rPr lang="en-GB" sz="2400" b="0" i="0" dirty="0">
                <a:solidFill>
                  <a:srgbClr val="374151"/>
                </a:solidFill>
                <a:effectLst/>
                <a:latin typeface="Söhne"/>
              </a:rPr>
              <a:t>.</a:t>
            </a:r>
          </a:p>
          <a:p>
            <a:pPr marL="0" indent="0">
              <a:lnSpc>
                <a:spcPts val="3149"/>
              </a:lnSpc>
              <a:buNone/>
            </a:pPr>
            <a:endParaRPr lang="en-GB" sz="2400" dirty="0">
              <a:solidFill>
                <a:srgbClr val="374151"/>
              </a:solidFill>
              <a:latin typeface="Söhne"/>
            </a:endParaRPr>
          </a:p>
          <a:p>
            <a:pPr>
              <a:lnSpc>
                <a:spcPts val="3149"/>
              </a:lnSpc>
            </a:pPr>
            <a:r>
              <a:rPr lang="en-US" sz="2400" dirty="0"/>
              <a:t>According to the </a:t>
            </a:r>
            <a:r>
              <a:rPr lang="en-US" sz="2400" b="1" dirty="0"/>
              <a:t>public sector participants</a:t>
            </a:r>
            <a:r>
              <a:rPr lang="en-US" sz="2400" dirty="0"/>
              <a:t>, the funding gap for national ASRH interventions in Ghana has increased significantly. </a:t>
            </a:r>
          </a:p>
          <a:p>
            <a:pPr>
              <a:lnSpc>
                <a:spcPts val="3149"/>
              </a:lnSpc>
            </a:pPr>
            <a:endParaRPr lang="en-US" sz="2400" dirty="0"/>
          </a:p>
          <a:p>
            <a:pPr>
              <a:lnSpc>
                <a:spcPts val="3149"/>
              </a:lnSpc>
            </a:pPr>
            <a:r>
              <a:rPr lang="en-US" sz="2400" dirty="0"/>
              <a:t>The annual funding gap exceeded 40% in 2018 and reached around 60% in 2022. </a:t>
            </a:r>
          </a:p>
        </p:txBody>
      </p:sp>
    </p:spTree>
    <p:extLst>
      <p:ext uri="{BB962C8B-B14F-4D97-AF65-F5344CB8AC3E}">
        <p14:creationId xmlns:p14="http://schemas.microsoft.com/office/powerpoint/2010/main" val="6073944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380AD67-C5CA-4918-B4BB-C359BB03EE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2">
            <a:extLst>
              <a:ext uri="{FF2B5EF4-FFF2-40B4-BE49-F238E27FC236}">
                <a16:creationId xmlns:a16="http://schemas.microsoft.com/office/drawing/2014/main" id="{EB3947AD-2FF5-334E-B332-7C8512536580}"/>
              </a:ext>
            </a:extLst>
          </p:cNvPr>
          <p:cNvSpPr/>
          <p:nvPr/>
        </p:nvSpPr>
        <p:spPr>
          <a:xfrm>
            <a:off x="305059" y="42305"/>
            <a:ext cx="10600008" cy="774941"/>
          </a:xfrm>
          <a:prstGeom prst="rect">
            <a:avLst/>
          </a:prstGeom>
        </p:spPr>
        <p:txBody>
          <a:bodyPr vert="horz" lIns="91440" tIns="45720" rIns="91440" bIns="45720" rtlCol="0" anchor="b">
            <a:normAutofit fontScale="77500" lnSpcReduction="20000"/>
          </a:bodyPr>
          <a:lstStyle/>
          <a:p>
            <a:pPr marL="0" indent="0">
              <a:lnSpc>
                <a:spcPct val="90000"/>
              </a:lnSpc>
              <a:spcBef>
                <a:spcPct val="0"/>
              </a:spcBef>
              <a:spcAft>
                <a:spcPts val="600"/>
              </a:spcAft>
            </a:pPr>
            <a:r>
              <a:rPr lang="en-US" sz="4800" b="1" spc="-131" dirty="0">
                <a:latin typeface="+mj-lt"/>
                <a:ea typeface="+mj-ea"/>
                <a:cs typeface="+mj-cs"/>
              </a:rPr>
              <a:t>Perspectives on ASRH Funding gap in Ghana (past 5 years)</a:t>
            </a:r>
            <a:endParaRPr lang="en-US" sz="4800" dirty="0">
              <a:latin typeface="+mj-lt"/>
              <a:ea typeface="+mj-ea"/>
              <a:cs typeface="+mj-cs"/>
            </a:endParaRPr>
          </a:p>
        </p:txBody>
      </p:sp>
      <p:pic>
        <p:nvPicPr>
          <p:cNvPr id="8" name="Picture 7">
            <a:extLst>
              <a:ext uri="{FF2B5EF4-FFF2-40B4-BE49-F238E27FC236}">
                <a16:creationId xmlns:a16="http://schemas.microsoft.com/office/drawing/2014/main" id="{D1C6759C-EC19-8A5D-4E15-EDBC840E0C1A}"/>
              </a:ext>
            </a:extLst>
          </p:cNvPr>
          <p:cNvPicPr>
            <a:picLocks noChangeAspect="1"/>
          </p:cNvPicPr>
          <p:nvPr/>
        </p:nvPicPr>
        <p:blipFill rotWithShape="1">
          <a:blip r:embed="rId2"/>
          <a:srcRect l="24972" r="16888" b="-2"/>
          <a:stretch/>
        </p:blipFill>
        <p:spPr>
          <a:xfrm>
            <a:off x="0" y="1276486"/>
            <a:ext cx="3572933" cy="6932151"/>
          </a:xfrm>
          <a:prstGeom prst="rect">
            <a:avLst/>
          </a:prstGeom>
        </p:spPr>
      </p:pic>
      <p:sp>
        <p:nvSpPr>
          <p:cNvPr id="14" name="!!accent">
            <a:extLst>
              <a:ext uri="{FF2B5EF4-FFF2-40B4-BE49-F238E27FC236}">
                <a16:creationId xmlns:a16="http://schemas.microsoft.com/office/drawing/2014/main" id="{EABAD4DA-87BA-4F70-9EF0-45C6BCF17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381552" y="436067"/>
            <a:ext cx="87782" cy="65836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915128D9-2797-47FA-B6FE-EC24E6B843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19119" y="3522649"/>
            <a:ext cx="7461504" cy="21945"/>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TextBox 2">
            <a:extLst>
              <a:ext uri="{FF2B5EF4-FFF2-40B4-BE49-F238E27FC236}">
                <a16:creationId xmlns:a16="http://schemas.microsoft.com/office/drawing/2014/main" id="{3D9C0E8A-6D49-EA45-A1BA-F1D579F0ECA0}"/>
              </a:ext>
            </a:extLst>
          </p:cNvPr>
          <p:cNvSpPr txBox="1"/>
          <p:nvPr/>
        </p:nvSpPr>
        <p:spPr>
          <a:xfrm>
            <a:off x="3911601" y="1272222"/>
            <a:ext cx="9990666" cy="6236017"/>
          </a:xfrm>
          <a:prstGeom prst="rect">
            <a:avLst/>
          </a:prstGeom>
        </p:spPr>
        <p:txBody>
          <a:bodyPr vert="horz" lIns="91440" tIns="45720" rIns="91440" bIns="45720" rtlCol="0">
            <a:noAutofit/>
          </a:bodyPr>
          <a:lstStyle/>
          <a:p>
            <a:pPr>
              <a:lnSpc>
                <a:spcPct val="90000"/>
              </a:lnSpc>
              <a:spcAft>
                <a:spcPts val="600"/>
              </a:spcAft>
            </a:pPr>
            <a:r>
              <a:rPr lang="en-US" sz="2400" b="1" i="0" dirty="0">
                <a:effectLst/>
              </a:rPr>
              <a:t>NGO participants </a:t>
            </a:r>
            <a:r>
              <a:rPr lang="en-US" sz="2400" b="0" i="0" dirty="0">
                <a:effectLst/>
              </a:rPr>
              <a:t>highlighted that they have historically operated within secured budgets funded by international development partners. </a:t>
            </a:r>
          </a:p>
          <a:p>
            <a:pPr>
              <a:lnSpc>
                <a:spcPct val="90000"/>
              </a:lnSpc>
              <a:spcAft>
                <a:spcPts val="600"/>
              </a:spcAft>
            </a:pPr>
            <a:endParaRPr lang="en-US" sz="2400" dirty="0"/>
          </a:p>
          <a:p>
            <a:pPr>
              <a:lnSpc>
                <a:spcPct val="90000"/>
              </a:lnSpc>
              <a:spcAft>
                <a:spcPts val="600"/>
              </a:spcAft>
            </a:pPr>
            <a:r>
              <a:rPr lang="en-US" sz="2400" b="0" i="0" dirty="0">
                <a:effectLst/>
              </a:rPr>
              <a:t>Partners rarely withdraw committed funding for ASRH interventions. </a:t>
            </a:r>
          </a:p>
          <a:p>
            <a:pPr>
              <a:lnSpc>
                <a:spcPct val="90000"/>
              </a:lnSpc>
              <a:spcAft>
                <a:spcPts val="600"/>
              </a:spcAft>
            </a:pPr>
            <a:endParaRPr lang="en-US" sz="2400" dirty="0"/>
          </a:p>
          <a:p>
            <a:pPr>
              <a:lnSpc>
                <a:spcPct val="90000"/>
              </a:lnSpc>
              <a:spcAft>
                <a:spcPts val="600"/>
              </a:spcAft>
            </a:pPr>
            <a:r>
              <a:rPr lang="en-US" sz="2400" b="0" i="0" dirty="0">
                <a:effectLst/>
              </a:rPr>
              <a:t>NGOs emphasize participatory development and community engagement.</a:t>
            </a:r>
          </a:p>
          <a:p>
            <a:pPr>
              <a:lnSpc>
                <a:spcPct val="90000"/>
              </a:lnSpc>
              <a:spcAft>
                <a:spcPts val="600"/>
              </a:spcAft>
            </a:pPr>
            <a:endParaRPr lang="en-US" sz="2400" dirty="0"/>
          </a:p>
          <a:p>
            <a:pPr>
              <a:lnSpc>
                <a:spcPct val="90000"/>
              </a:lnSpc>
              <a:spcAft>
                <a:spcPts val="600"/>
              </a:spcAft>
            </a:pPr>
            <a:r>
              <a:rPr lang="en-US" sz="2400" b="0" i="0" dirty="0">
                <a:effectLst/>
              </a:rPr>
              <a:t>However, changes in funding priorities driven by global economic crises and energy problems in Europe could </a:t>
            </a:r>
            <a:r>
              <a:rPr lang="en-US" sz="2400" b="1" i="0" dirty="0">
                <a:effectLst/>
              </a:rPr>
              <a:t>lead to a potential 50% reduction </a:t>
            </a:r>
            <a:r>
              <a:rPr lang="en-US" sz="2400" b="0" i="0" dirty="0">
                <a:effectLst/>
              </a:rPr>
              <a:t>in donor funding for ASRH interventions. </a:t>
            </a:r>
          </a:p>
          <a:p>
            <a:pPr>
              <a:lnSpc>
                <a:spcPct val="90000"/>
              </a:lnSpc>
              <a:spcAft>
                <a:spcPts val="600"/>
              </a:spcAft>
            </a:pPr>
            <a:endParaRPr lang="en-US" sz="2400" dirty="0"/>
          </a:p>
          <a:p>
            <a:pPr>
              <a:lnSpc>
                <a:spcPct val="90000"/>
              </a:lnSpc>
              <a:spcAft>
                <a:spcPts val="600"/>
              </a:spcAft>
            </a:pPr>
            <a:r>
              <a:rPr lang="en-US" sz="2400" b="0" i="0" dirty="0">
                <a:effectLst/>
              </a:rPr>
              <a:t>Access to international funding opportunities for humanitarian/charity works in Africa has already </a:t>
            </a:r>
            <a:r>
              <a:rPr lang="en-US" sz="2400" b="1" i="0" dirty="0">
                <a:effectLst/>
              </a:rPr>
              <a:t>declined by almost 30% between 2021 and 2022</a:t>
            </a:r>
            <a:r>
              <a:rPr lang="en-US" sz="2400" b="0" i="0" dirty="0">
                <a:effectLst/>
              </a:rPr>
              <a:t>, potentially worsening due to ongoing global economic crises related to COVID-19 and the Ukraine War.</a:t>
            </a:r>
            <a:endParaRPr lang="en-US" sz="2400" dirty="0"/>
          </a:p>
        </p:txBody>
      </p:sp>
    </p:spTree>
    <p:extLst>
      <p:ext uri="{BB962C8B-B14F-4D97-AF65-F5344CB8AC3E}">
        <p14:creationId xmlns:p14="http://schemas.microsoft.com/office/powerpoint/2010/main" val="1206177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 2">
            <a:extLst>
              <a:ext uri="{FF2B5EF4-FFF2-40B4-BE49-F238E27FC236}">
                <a16:creationId xmlns:a16="http://schemas.microsoft.com/office/drawing/2014/main" id="{EB3947AD-2FF5-334E-B332-7C8512536580}"/>
              </a:ext>
            </a:extLst>
          </p:cNvPr>
          <p:cNvSpPr/>
          <p:nvPr/>
        </p:nvSpPr>
        <p:spPr>
          <a:xfrm>
            <a:off x="914208" y="204665"/>
            <a:ext cx="11497925" cy="1681419"/>
          </a:xfrm>
          <a:prstGeom prst="rect">
            <a:avLst/>
          </a:prstGeom>
        </p:spPr>
        <p:txBody>
          <a:bodyPr vert="horz" lIns="91440" tIns="45720" rIns="91440" bIns="45720" rtlCol="0" anchor="t">
            <a:normAutofit/>
          </a:bodyPr>
          <a:lstStyle/>
          <a:p>
            <a:pPr marL="0" indent="0">
              <a:lnSpc>
                <a:spcPct val="90000"/>
              </a:lnSpc>
              <a:spcBef>
                <a:spcPct val="0"/>
              </a:spcBef>
              <a:spcAft>
                <a:spcPts val="600"/>
              </a:spcAft>
            </a:pPr>
            <a:r>
              <a:rPr lang="en-US" sz="3800" b="1" kern="1200" spc="-131" dirty="0">
                <a:solidFill>
                  <a:schemeClr val="tx1"/>
                </a:solidFill>
                <a:latin typeface="+mj-lt"/>
                <a:ea typeface="+mj-ea"/>
                <a:cs typeface="+mj-cs"/>
              </a:rPr>
              <a:t>Perspectives on ASRH Funding gap in Ghana (past 5 years)</a:t>
            </a:r>
            <a:endParaRPr lang="en-US" sz="3800" kern="1200" dirty="0">
              <a:solidFill>
                <a:schemeClr val="tx1"/>
              </a:solidFill>
              <a:latin typeface="+mj-lt"/>
              <a:ea typeface="+mj-ea"/>
              <a:cs typeface="+mj-cs"/>
            </a:endParaRPr>
          </a:p>
        </p:txBody>
      </p:sp>
      <p:cxnSp>
        <p:nvCxnSpPr>
          <p:cNvPr id="26" name="Straight Connector 25">
            <a:extLst>
              <a:ext uri="{FF2B5EF4-FFF2-40B4-BE49-F238E27FC236}">
                <a16:creationId xmlns:a16="http://schemas.microsoft.com/office/drawing/2014/main" id="{FC23E3B9-5ABF-58B3-E2B0-E9A5DAA900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033754" y="1045375"/>
            <a:ext cx="884327"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4D3A72A-A9C4-C648-9DDF-AC96482670DA}"/>
              </a:ext>
            </a:extLst>
          </p:cNvPr>
          <p:cNvSpPr txBox="1"/>
          <p:nvPr/>
        </p:nvSpPr>
        <p:spPr>
          <a:xfrm>
            <a:off x="1033753" y="1452743"/>
            <a:ext cx="7449847" cy="6184185"/>
          </a:xfrm>
          <a:prstGeom prst="rect">
            <a:avLst/>
          </a:prstGeom>
        </p:spPr>
        <p:txBody>
          <a:bodyPr vert="horz" lIns="91440" tIns="45720" rIns="91440" bIns="45720" rtlCol="0">
            <a:noAutofit/>
          </a:bodyPr>
          <a:lstStyle/>
          <a:p>
            <a:pPr>
              <a:lnSpc>
                <a:spcPct val="90000"/>
              </a:lnSpc>
              <a:spcAft>
                <a:spcPts val="600"/>
              </a:spcAft>
            </a:pPr>
            <a:r>
              <a:rPr lang="en-US" sz="2400" b="0" i="0" dirty="0">
                <a:effectLst/>
              </a:rPr>
              <a:t>Multiple participants reiterated the significant funding gap for ASRH interventions in Ghana, </a:t>
            </a:r>
            <a:r>
              <a:rPr lang="en-US" sz="2400" b="1" i="0" dirty="0">
                <a:effectLst/>
              </a:rPr>
              <a:t>estimating it to be between 60% and 70% in 2022</a:t>
            </a:r>
            <a:r>
              <a:rPr lang="en-US" sz="2400" b="0" i="0" dirty="0">
                <a:effectLst/>
              </a:rPr>
              <a:t>. </a:t>
            </a:r>
          </a:p>
          <a:p>
            <a:pPr>
              <a:lnSpc>
                <a:spcPct val="90000"/>
              </a:lnSpc>
              <a:spcAft>
                <a:spcPts val="600"/>
              </a:spcAft>
            </a:pPr>
            <a:endParaRPr lang="en-US" sz="2400" dirty="0"/>
          </a:p>
          <a:p>
            <a:pPr>
              <a:lnSpc>
                <a:spcPct val="90000"/>
              </a:lnSpc>
              <a:spcAft>
                <a:spcPts val="600"/>
              </a:spcAft>
            </a:pPr>
            <a:r>
              <a:rPr lang="en-US" sz="2400" b="0" i="0" dirty="0">
                <a:effectLst/>
              </a:rPr>
              <a:t>They emphasized the enormous amount of work remaining to address ASRH issues and the </a:t>
            </a:r>
            <a:r>
              <a:rPr lang="en-US" sz="2400" b="1" i="0" dirty="0">
                <a:effectLst/>
              </a:rPr>
              <a:t>lack of data to present a compelling case for investment </a:t>
            </a:r>
            <a:r>
              <a:rPr lang="en-US" sz="2400" b="0" i="0" dirty="0">
                <a:effectLst/>
              </a:rPr>
              <a:t>from development partners and the government. </a:t>
            </a:r>
          </a:p>
          <a:p>
            <a:pPr>
              <a:lnSpc>
                <a:spcPct val="90000"/>
              </a:lnSpc>
              <a:spcAft>
                <a:spcPts val="600"/>
              </a:spcAft>
            </a:pPr>
            <a:endParaRPr lang="en-US" sz="2400" dirty="0"/>
          </a:p>
          <a:p>
            <a:pPr>
              <a:lnSpc>
                <a:spcPct val="90000"/>
              </a:lnSpc>
              <a:spcAft>
                <a:spcPts val="600"/>
              </a:spcAft>
            </a:pPr>
            <a:r>
              <a:rPr lang="en-US" sz="2400" b="0" i="0" dirty="0">
                <a:effectLst/>
              </a:rPr>
              <a:t>Operational challenges, including a lack of co-creation of interventions, were also identified as contributing factors to the persistent need for funding. </a:t>
            </a:r>
          </a:p>
          <a:p>
            <a:pPr>
              <a:lnSpc>
                <a:spcPct val="90000"/>
              </a:lnSpc>
              <a:spcAft>
                <a:spcPts val="600"/>
              </a:spcAft>
            </a:pPr>
            <a:endParaRPr lang="en-US" sz="2400" dirty="0"/>
          </a:p>
          <a:p>
            <a:pPr>
              <a:lnSpc>
                <a:spcPct val="90000"/>
              </a:lnSpc>
              <a:spcAft>
                <a:spcPts val="600"/>
              </a:spcAft>
            </a:pPr>
            <a:r>
              <a:rPr lang="en-US" sz="2400" b="0" i="0" dirty="0">
                <a:effectLst/>
              </a:rPr>
              <a:t>School-based interventions received more funding compared to non-school-based interventions like addressing domestic violence against adolescent girls.</a:t>
            </a:r>
            <a:endParaRPr lang="en-US" sz="2400" dirty="0"/>
          </a:p>
        </p:txBody>
      </p:sp>
      <p:pic>
        <p:nvPicPr>
          <p:cNvPr id="10" name="Graphic 9" descr="Statistics">
            <a:extLst>
              <a:ext uri="{FF2B5EF4-FFF2-40B4-BE49-F238E27FC236}">
                <a16:creationId xmlns:a16="http://schemas.microsoft.com/office/drawing/2014/main" id="{64E5E16B-4588-F256-3C2A-ED30C76815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10132" y="1650135"/>
            <a:ext cx="4893735" cy="5655282"/>
          </a:xfrm>
          <a:prstGeom prst="rect">
            <a:avLst/>
          </a:prstGeom>
        </p:spPr>
      </p:pic>
    </p:spTree>
    <p:extLst>
      <p:ext uri="{BB962C8B-B14F-4D97-AF65-F5344CB8AC3E}">
        <p14:creationId xmlns:p14="http://schemas.microsoft.com/office/powerpoint/2010/main" val="377147490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2">
            <a:extLst>
              <a:ext uri="{FF2B5EF4-FFF2-40B4-BE49-F238E27FC236}">
                <a16:creationId xmlns:a16="http://schemas.microsoft.com/office/drawing/2014/main" id="{EB3947AD-2FF5-334E-B332-7C8512536580}"/>
              </a:ext>
            </a:extLst>
          </p:cNvPr>
          <p:cNvSpPr/>
          <p:nvPr/>
        </p:nvSpPr>
        <p:spPr>
          <a:xfrm>
            <a:off x="914208" y="204665"/>
            <a:ext cx="13072725" cy="1681419"/>
          </a:xfrm>
          <a:prstGeom prst="rect">
            <a:avLst/>
          </a:prstGeom>
        </p:spPr>
        <p:txBody>
          <a:bodyPr vert="horz" lIns="91440" tIns="45720" rIns="91440" bIns="45720" rtlCol="0" anchor="t">
            <a:normAutofit/>
          </a:bodyPr>
          <a:lstStyle/>
          <a:p>
            <a:pPr algn="just">
              <a:lnSpc>
                <a:spcPct val="107000"/>
              </a:lnSpc>
              <a:spcAft>
                <a:spcPts val="800"/>
              </a:spcAft>
            </a:pPr>
            <a:r>
              <a:rPr lang="en-GB" sz="2800" b="1" i="1" dirty="0">
                <a:solidFill>
                  <a:srgbClr val="0E101A"/>
                </a:solidFill>
                <a:effectLst/>
                <a:latin typeface="Georgia" panose="02040502050405020303" pitchFamily="18" charset="0"/>
                <a:ea typeface="Calibri" panose="020F0502020204030204" pitchFamily="34" charset="0"/>
                <a:cs typeface="Arial" panose="020B0604020202020204" pitchFamily="34" charset="0"/>
              </a:rPr>
              <a:t>Strategies to Address ASRH Funding Gap in Ghana and Senegal</a:t>
            </a:r>
            <a:endParaRPr lang="en-GH" sz="28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28" name="TextBox 4">
            <a:extLst>
              <a:ext uri="{FF2B5EF4-FFF2-40B4-BE49-F238E27FC236}">
                <a16:creationId xmlns:a16="http://schemas.microsoft.com/office/drawing/2014/main" id="{24279477-BC9E-12AD-F741-DB99F7259DBD}"/>
              </a:ext>
            </a:extLst>
          </p:cNvPr>
          <p:cNvGraphicFramePr/>
          <p:nvPr>
            <p:extLst>
              <p:ext uri="{D42A27DB-BD31-4B8C-83A1-F6EECF244321}">
                <p14:modId xmlns:p14="http://schemas.microsoft.com/office/powerpoint/2010/main" val="4069665162"/>
              </p:ext>
            </p:extLst>
          </p:nvPr>
        </p:nvGraphicFramePr>
        <p:xfrm>
          <a:off x="1033753" y="795879"/>
          <a:ext cx="12953180" cy="68410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57039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6176"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11" name="Title 10"/>
          <p:cNvSpPr>
            <a:spLocks noGrp="1"/>
          </p:cNvSpPr>
          <p:nvPr>
            <p:ph type="title"/>
          </p:nvPr>
        </p:nvSpPr>
        <p:spPr>
          <a:xfrm>
            <a:off x="360045" y="461775"/>
            <a:ext cx="13954122" cy="729614"/>
          </a:xfrm>
        </p:spPr>
        <p:txBody>
          <a:bodyPr vert="horz"/>
          <a:lstStyle/>
          <a:p>
            <a:r>
              <a:rPr lang="en-US" sz="3360" b="1" dirty="0"/>
              <a:t>Project Overview</a:t>
            </a:r>
          </a:p>
        </p:txBody>
      </p:sp>
      <p:sp>
        <p:nvSpPr>
          <p:cNvPr id="12" name="Content Placeholder 11"/>
          <p:cNvSpPr>
            <a:spLocks noGrp="1"/>
          </p:cNvSpPr>
          <p:nvPr>
            <p:ph idx="1"/>
          </p:nvPr>
        </p:nvSpPr>
        <p:spPr>
          <a:xfrm rot="5400000">
            <a:off x="3977753" y="-1948262"/>
            <a:ext cx="5946222" cy="12299353"/>
          </a:xfrm>
          <a:gradFill flip="none" rotWithShape="1">
            <a:gsLst>
              <a:gs pos="100000">
                <a:schemeClr val="bg1">
                  <a:lumMod val="95000"/>
                </a:schemeClr>
              </a:gs>
              <a:gs pos="92000">
                <a:schemeClr val="bg1"/>
              </a:gs>
            </a:gsLst>
            <a:lin ang="0" scaled="1"/>
            <a:tileRect/>
          </a:gradFill>
          <a:ln w="0" cap="flat" cmpd="sng" algn="ctr">
            <a:noFill/>
            <a:prstDash val="solid"/>
          </a:ln>
          <a:effectLst>
            <a:outerShdw blurRad="254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107966" tIns="432000" rIns="107966" bIns="432000" numCol="1" spcCol="0" rtlCol="0" fromWordArt="0" anchor="ctr" anchorCtr="0" forceAA="0" compatLnSpc="1">
            <a:prstTxWarp prst="textNoShape">
              <a:avLst/>
            </a:prstTxWarp>
            <a:noAutofit/>
          </a:bodyPr>
          <a:lstStyle/>
          <a:p>
            <a:pPr marL="0" indent="0">
              <a:buClr>
                <a:srgbClr val="006587"/>
              </a:buClr>
              <a:buSzPct val="100000"/>
              <a:buNone/>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A significant challenge to the advancement of adolescent health is the availability and accessibility of health services to adolescents.</a:t>
            </a:r>
          </a:p>
          <a:p>
            <a:pPr marL="0" indent="0">
              <a:buClr>
                <a:srgbClr val="006587"/>
              </a:buClr>
              <a:buSzPct val="100000"/>
              <a:buNone/>
            </a:pPr>
            <a:endParaRPr lang="en-US" sz="1000" dirty="0">
              <a:solidFill>
                <a:srgbClr val="006587"/>
              </a:solidFill>
              <a:latin typeface="Arial" panose="020B0604020202020204" pitchFamily="34" charset="0"/>
              <a:ea typeface="Tahoma" panose="020B0604030504040204" pitchFamily="34" charset="0"/>
              <a:cs typeface="Arial" panose="020B0604020202020204" pitchFamily="34" charset="0"/>
            </a:endParaRPr>
          </a:p>
          <a:p>
            <a:pPr marL="0" indent="0">
              <a:buClr>
                <a:srgbClr val="006587"/>
              </a:buClr>
              <a:buSzPct val="100000"/>
              <a:buNone/>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There is a dearth of studies documenting priority or effective interventions in the African context and little or no information exists on costing of these interventions.</a:t>
            </a:r>
          </a:p>
          <a:p>
            <a:pPr marL="0" indent="0">
              <a:buClr>
                <a:srgbClr val="006587"/>
              </a:buClr>
              <a:buSzPct val="100000"/>
              <a:buNone/>
            </a:pPr>
            <a:endParaRPr lang="en-US" sz="900" dirty="0">
              <a:solidFill>
                <a:srgbClr val="006587"/>
              </a:solidFill>
              <a:latin typeface="Arial" panose="020B0604020202020204" pitchFamily="34" charset="0"/>
              <a:ea typeface="Tahoma" panose="020B0604030504040204" pitchFamily="34" charset="0"/>
              <a:cs typeface="Arial" panose="020B0604020202020204" pitchFamily="34" charset="0"/>
            </a:endParaRPr>
          </a:p>
          <a:p>
            <a:pPr marL="0" indent="0">
              <a:buClr>
                <a:srgbClr val="006587"/>
              </a:buClr>
              <a:buSzPct val="100000"/>
              <a:buNone/>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There is also little or no information on the resource gap or the requirements for scaling up these interventions..</a:t>
            </a:r>
          </a:p>
          <a:p>
            <a:pPr marL="0" indent="0">
              <a:buClr>
                <a:srgbClr val="006587"/>
              </a:buClr>
              <a:buSzPct val="100000"/>
              <a:buNone/>
            </a:pPr>
            <a:endParaRPr lang="en-US" sz="1000" dirty="0">
              <a:solidFill>
                <a:srgbClr val="006587"/>
              </a:solidFill>
              <a:latin typeface="Arial" panose="020B0604020202020204" pitchFamily="34" charset="0"/>
              <a:ea typeface="Tahoma" panose="020B0604030504040204" pitchFamily="34" charset="0"/>
              <a:cs typeface="Arial" panose="020B0604020202020204" pitchFamily="34" charset="0"/>
            </a:endParaRPr>
          </a:p>
          <a:p>
            <a:pPr marL="0" indent="0">
              <a:buClr>
                <a:srgbClr val="006587"/>
              </a:buClr>
              <a:buSzPct val="100000"/>
              <a:buNone/>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Given that government health budgets in Africa remain low, it is important to understand effective ways to mobilize equitable and sustainable domestic resources to finance ASRH interventions in Africa. </a:t>
            </a:r>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endParaRPr lang="en-US" dirty="0"/>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p:txBody>
          <a:bodyPr/>
          <a:lstStyle/>
          <a:p>
            <a:fld id="{1DB6C988-4D17-4769-AFD6-9FA8E95C5F4D}" type="slidenum">
              <a:rPr lang="en-US" smtClean="0"/>
              <a:t>5</a:t>
            </a:fld>
            <a:endParaRPr lang="en-US" dirty="0"/>
          </a:p>
        </p:txBody>
      </p:sp>
      <p:cxnSp>
        <p:nvCxnSpPr>
          <p:cNvPr id="10" name="Straight Connector 9">
            <a:extLst>
              <a:ext uri="{FF2B5EF4-FFF2-40B4-BE49-F238E27FC236}">
                <a16:creationId xmlns:a16="http://schemas.microsoft.com/office/drawing/2014/main" id="{03355FEE-7D3B-4258-AEA7-E94022F972F5}"/>
              </a:ext>
            </a:extLst>
          </p:cNvPr>
          <p:cNvCxnSpPr/>
          <p:nvPr/>
        </p:nvCxnSpPr>
        <p:spPr>
          <a:xfrm>
            <a:off x="698355" y="1420093"/>
            <a:ext cx="13028023"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3527AC0-2F3E-439A-87C1-C2FB0A2AD01C}"/>
              </a:ext>
            </a:extLst>
          </p:cNvPr>
          <p:cNvCxnSpPr/>
          <p:nvPr/>
        </p:nvCxnSpPr>
        <p:spPr>
          <a:xfrm>
            <a:off x="857487" y="3209280"/>
            <a:ext cx="13028023"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689CF11-24B4-41D2-A969-41BC1517211D}"/>
              </a:ext>
            </a:extLst>
          </p:cNvPr>
          <p:cNvCxnSpPr/>
          <p:nvPr/>
        </p:nvCxnSpPr>
        <p:spPr>
          <a:xfrm>
            <a:off x="698355" y="4125352"/>
            <a:ext cx="13028023"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6" name="Rectangle: Top Corners Rounded 15">
            <a:extLst>
              <a:ext uri="{FF2B5EF4-FFF2-40B4-BE49-F238E27FC236}">
                <a16:creationId xmlns:a16="http://schemas.microsoft.com/office/drawing/2014/main" id="{86A5572F-0D4F-4FA6-980F-1BA504133CCD}"/>
              </a:ext>
            </a:extLst>
          </p:cNvPr>
          <p:cNvSpPr/>
          <p:nvPr/>
        </p:nvSpPr>
        <p:spPr>
          <a:xfrm rot="5400000" flipH="1">
            <a:off x="325409" y="1771938"/>
            <a:ext cx="425851" cy="320040"/>
          </a:xfrm>
          <a:prstGeom prst="round2SameRect">
            <a:avLst/>
          </a:pr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60" b="1" dirty="0"/>
              <a:t>1</a:t>
            </a:r>
          </a:p>
        </p:txBody>
      </p:sp>
      <p:sp>
        <p:nvSpPr>
          <p:cNvPr id="17" name="Rectangle: Top Corners Rounded 16">
            <a:extLst>
              <a:ext uri="{FF2B5EF4-FFF2-40B4-BE49-F238E27FC236}">
                <a16:creationId xmlns:a16="http://schemas.microsoft.com/office/drawing/2014/main" id="{D1DA6C1C-A7C3-4476-90E4-CF434CD3C69D}"/>
              </a:ext>
            </a:extLst>
          </p:cNvPr>
          <p:cNvSpPr/>
          <p:nvPr/>
        </p:nvSpPr>
        <p:spPr>
          <a:xfrm rot="5400000" flipH="1">
            <a:off x="325408" y="2986036"/>
            <a:ext cx="425851" cy="320040"/>
          </a:xfrm>
          <a:prstGeom prst="round2SameRect">
            <a:avLst/>
          </a:pr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60" b="1" dirty="0"/>
              <a:t>2</a:t>
            </a:r>
          </a:p>
        </p:txBody>
      </p:sp>
      <p:sp>
        <p:nvSpPr>
          <p:cNvPr id="18" name="Rectangle: Top Corners Rounded 17">
            <a:extLst>
              <a:ext uri="{FF2B5EF4-FFF2-40B4-BE49-F238E27FC236}">
                <a16:creationId xmlns:a16="http://schemas.microsoft.com/office/drawing/2014/main" id="{FF37437E-2237-4FD7-B677-B17ACF836463}"/>
              </a:ext>
            </a:extLst>
          </p:cNvPr>
          <p:cNvSpPr/>
          <p:nvPr/>
        </p:nvSpPr>
        <p:spPr>
          <a:xfrm rot="5400000" flipH="1">
            <a:off x="300673" y="4660434"/>
            <a:ext cx="521854" cy="366573"/>
          </a:xfrm>
          <a:prstGeom prst="round2SameRect">
            <a:avLst/>
          </a:pr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60" b="1" dirty="0"/>
              <a:t>3</a:t>
            </a:r>
          </a:p>
        </p:txBody>
      </p:sp>
      <p:sp>
        <p:nvSpPr>
          <p:cNvPr id="19" name="Rectangle: Top Corners Rounded 18">
            <a:extLst>
              <a:ext uri="{FF2B5EF4-FFF2-40B4-BE49-F238E27FC236}">
                <a16:creationId xmlns:a16="http://schemas.microsoft.com/office/drawing/2014/main" id="{060F7F1C-45DB-497E-927A-80F9F2FB411A}"/>
              </a:ext>
            </a:extLst>
          </p:cNvPr>
          <p:cNvSpPr/>
          <p:nvPr/>
        </p:nvSpPr>
        <p:spPr>
          <a:xfrm rot="5400000">
            <a:off x="310573" y="5911165"/>
            <a:ext cx="548586" cy="320041"/>
          </a:xfrm>
          <a:prstGeom prst="round2SameRect">
            <a:avLst/>
          </a:pr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60" b="1" dirty="0"/>
              <a:t>4</a:t>
            </a:r>
          </a:p>
        </p:txBody>
      </p:sp>
    </p:spTree>
    <p:extLst>
      <p:ext uri="{BB962C8B-B14F-4D97-AF65-F5344CB8AC3E}">
        <p14:creationId xmlns:p14="http://schemas.microsoft.com/office/powerpoint/2010/main" val="589560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E7950-DCE5-6343-AB09-EEBFEA4223A0}"/>
              </a:ext>
            </a:extLst>
          </p:cNvPr>
          <p:cNvSpPr>
            <a:spLocks noGrp="1"/>
          </p:cNvSpPr>
          <p:nvPr>
            <p:ph type="ctrTitle"/>
          </p:nvPr>
        </p:nvSpPr>
        <p:spPr/>
        <p:txBody>
          <a:bodyPr/>
          <a:lstStyle/>
          <a:p>
            <a:r>
              <a:rPr lang="en-GH" sz="4800" b="1" dirty="0"/>
              <a:t>Senegal-Health Financing and Funding Gaps for ASRH interventions</a:t>
            </a:r>
          </a:p>
        </p:txBody>
      </p:sp>
    </p:spTree>
    <p:extLst>
      <p:ext uri="{BB962C8B-B14F-4D97-AF65-F5344CB8AC3E}">
        <p14:creationId xmlns:p14="http://schemas.microsoft.com/office/powerpoint/2010/main" val="32688581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45A9F99-D9B1-4094-A2E2-B90AC1DB7B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7FAF607-473A-4A43-A23D-BBFF5C4117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6" y="0"/>
            <a:ext cx="14630034"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F66E6937-71EE-BE4F-A9DF-04730DFDBC4E}"/>
              </a:ext>
            </a:extLst>
          </p:cNvPr>
          <p:cNvSpPr>
            <a:spLocks noGrp="1"/>
          </p:cNvSpPr>
          <p:nvPr>
            <p:ph type="title"/>
          </p:nvPr>
        </p:nvSpPr>
        <p:spPr>
          <a:xfrm>
            <a:off x="7308688" y="485459"/>
            <a:ext cx="5973571" cy="780634"/>
          </a:xfrm>
        </p:spPr>
        <p:txBody>
          <a:bodyPr>
            <a:normAutofit/>
          </a:bodyPr>
          <a:lstStyle/>
          <a:p>
            <a:r>
              <a:rPr lang="en-GH" sz="4300" b="1" dirty="0">
                <a:solidFill>
                  <a:schemeClr val="tx2"/>
                </a:solidFill>
              </a:rPr>
              <a:t>ASRH Financing</a:t>
            </a:r>
          </a:p>
        </p:txBody>
      </p:sp>
      <p:pic>
        <p:nvPicPr>
          <p:cNvPr id="9" name="Graphic 8" descr="Hospital">
            <a:extLst>
              <a:ext uri="{FF2B5EF4-FFF2-40B4-BE49-F238E27FC236}">
                <a16:creationId xmlns:a16="http://schemas.microsoft.com/office/drawing/2014/main" id="{71C9F7F4-F887-BBB2-A51D-08429C91AF6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4341" y="2152615"/>
            <a:ext cx="4344025" cy="4344025"/>
          </a:xfrm>
          <a:prstGeom prst="rect">
            <a:avLst/>
          </a:prstGeom>
        </p:spPr>
      </p:pic>
      <p:sp>
        <p:nvSpPr>
          <p:cNvPr id="5" name="Content Placeholder 4">
            <a:extLst>
              <a:ext uri="{FF2B5EF4-FFF2-40B4-BE49-F238E27FC236}">
                <a16:creationId xmlns:a16="http://schemas.microsoft.com/office/drawing/2014/main" id="{176D9A6D-95E8-8F48-BFF1-55E4B7E11483}"/>
              </a:ext>
            </a:extLst>
          </p:cNvPr>
          <p:cNvSpPr>
            <a:spLocks noGrp="1"/>
          </p:cNvSpPr>
          <p:nvPr>
            <p:ph idx="1"/>
          </p:nvPr>
        </p:nvSpPr>
        <p:spPr>
          <a:xfrm>
            <a:off x="7308688" y="1591056"/>
            <a:ext cx="6917266" cy="6153086"/>
          </a:xfrm>
        </p:spPr>
        <p:txBody>
          <a:bodyPr anchor="ctr">
            <a:normAutofit/>
          </a:bodyPr>
          <a:lstStyle/>
          <a:p>
            <a:r>
              <a:rPr lang="en-GB" sz="2800" dirty="0">
                <a:solidFill>
                  <a:schemeClr val="tx2"/>
                </a:solidFill>
              </a:rPr>
              <a:t>Health accounts data from 2017 to 2021(Ministry of health and social action, 2022) show that households remain the main source of healthcare funding. </a:t>
            </a:r>
          </a:p>
          <a:p>
            <a:pPr marL="0" indent="0">
              <a:buNone/>
            </a:pPr>
            <a:endParaRPr lang="en-GB" sz="2800" dirty="0">
              <a:solidFill>
                <a:schemeClr val="tx2"/>
              </a:solidFill>
            </a:endParaRPr>
          </a:p>
          <a:p>
            <a:r>
              <a:rPr lang="en-GB" sz="2800" dirty="0">
                <a:solidFill>
                  <a:schemeClr val="tx2"/>
                </a:solidFill>
              </a:rPr>
              <a:t>The State's contribution remains at an average of 35.7% over the 2017-2021 period, peaking at 42% in 2021.</a:t>
            </a:r>
          </a:p>
          <a:p>
            <a:pPr marL="0" indent="0">
              <a:buNone/>
            </a:pPr>
            <a:endParaRPr lang="en-GB" sz="2800" dirty="0">
              <a:solidFill>
                <a:schemeClr val="tx2"/>
              </a:solidFill>
            </a:endParaRPr>
          </a:p>
          <a:p>
            <a:r>
              <a:rPr lang="en-GB" sz="2800" dirty="0">
                <a:solidFill>
                  <a:schemeClr val="tx2"/>
                </a:solidFill>
              </a:rPr>
              <a:t>Analysis of ARSH funding in Senegal shows a high financial contribution from partners such as UNFPA, USAID, Plan International, ADB, UNICEF and others </a:t>
            </a:r>
            <a:endParaRPr lang="en-GH" sz="2800" dirty="0">
              <a:solidFill>
                <a:schemeClr val="tx2"/>
              </a:solidFill>
            </a:endParaRPr>
          </a:p>
          <a:p>
            <a:endParaRPr lang="en-GH" sz="2200" dirty="0">
              <a:solidFill>
                <a:schemeClr val="tx2"/>
              </a:solidFill>
            </a:endParaRPr>
          </a:p>
        </p:txBody>
      </p:sp>
      <p:grpSp>
        <p:nvGrpSpPr>
          <p:cNvPr id="16" name="Group 15">
            <a:extLst>
              <a:ext uri="{FF2B5EF4-FFF2-40B4-BE49-F238E27FC236}">
                <a16:creationId xmlns:a16="http://schemas.microsoft.com/office/drawing/2014/main" id="{C5F6476F-D303-44D3-B30F-1BA348F0F64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3162" y="63595"/>
            <a:ext cx="7114328" cy="8166006"/>
            <a:chOff x="6095999" y="52996"/>
            <a:chExt cx="6093363" cy="6805005"/>
          </a:xfrm>
          <a:solidFill>
            <a:schemeClr val="accent5">
              <a:alpha val="10000"/>
            </a:schemeClr>
          </a:solidFill>
        </p:grpSpPr>
        <p:sp>
          <p:nvSpPr>
            <p:cNvPr id="17" name="Freeform: Shape 16">
              <a:extLst>
                <a:ext uri="{FF2B5EF4-FFF2-40B4-BE49-F238E27FC236}">
                  <a16:creationId xmlns:a16="http://schemas.microsoft.com/office/drawing/2014/main" id="{C972EB4B-0539-4430-9340-8117B9D7C3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1" y="52996"/>
              <a:ext cx="6093361" cy="6805003"/>
            </a:xfrm>
            <a:custGeom>
              <a:avLst/>
              <a:gdLst>
                <a:gd name="connsiteX0" fmla="*/ 3391253 w 5890489"/>
                <a:gd name="connsiteY0" fmla="*/ 0 h 6578438"/>
                <a:gd name="connsiteX1" fmla="*/ 3434974 w 5890489"/>
                <a:gd name="connsiteY1" fmla="*/ 646 h 6578438"/>
                <a:gd name="connsiteX2" fmla="*/ 3522419 w 5890489"/>
                <a:gd name="connsiteY2" fmla="*/ 2712 h 6578438"/>
                <a:gd name="connsiteX3" fmla="*/ 3610261 w 5890489"/>
                <a:gd name="connsiteY3" fmla="*/ 6458 h 6578438"/>
                <a:gd name="connsiteX4" fmla="*/ 3786872 w 5890489"/>
                <a:gd name="connsiteY4" fmla="*/ 20667 h 6578438"/>
                <a:gd name="connsiteX5" fmla="*/ 3962291 w 5890489"/>
                <a:gd name="connsiteY5" fmla="*/ 43530 h 6578438"/>
                <a:gd name="connsiteX6" fmla="*/ 4135855 w 5890489"/>
                <a:gd name="connsiteY6" fmla="*/ 75176 h 6578438"/>
                <a:gd name="connsiteX7" fmla="*/ 4307299 w 5890489"/>
                <a:gd name="connsiteY7" fmla="*/ 114315 h 6578438"/>
                <a:gd name="connsiteX8" fmla="*/ 4476358 w 5890489"/>
                <a:gd name="connsiteY8" fmla="*/ 160816 h 6578438"/>
                <a:gd name="connsiteX9" fmla="*/ 4559829 w 5890489"/>
                <a:gd name="connsiteY9" fmla="*/ 186779 h 6578438"/>
                <a:gd name="connsiteX10" fmla="*/ 4642901 w 5890489"/>
                <a:gd name="connsiteY10" fmla="*/ 213648 h 6578438"/>
                <a:gd name="connsiteX11" fmla="*/ 5280847 w 5890489"/>
                <a:gd name="connsiteY11" fmla="*/ 485936 h 6578438"/>
                <a:gd name="connsiteX12" fmla="*/ 5865400 w 5890489"/>
                <a:gd name="connsiteY12" fmla="*/ 851099 h 6578438"/>
                <a:gd name="connsiteX13" fmla="*/ 5890489 w 5890489"/>
                <a:gd name="connsiteY13" fmla="*/ 870950 h 6578438"/>
                <a:gd name="connsiteX14" fmla="*/ 5890489 w 5890489"/>
                <a:gd name="connsiteY14" fmla="*/ 1321814 h 6578438"/>
                <a:gd name="connsiteX15" fmla="*/ 5887395 w 5890489"/>
                <a:gd name="connsiteY15" fmla="*/ 1318952 h 6578438"/>
                <a:gd name="connsiteX16" fmla="*/ 5830291 w 5890489"/>
                <a:gd name="connsiteY16" fmla="*/ 1265992 h 6578438"/>
                <a:gd name="connsiteX17" fmla="*/ 5815981 w 5890489"/>
                <a:gd name="connsiteY17" fmla="*/ 1252687 h 6578438"/>
                <a:gd name="connsiteX18" fmla="*/ 5801142 w 5890489"/>
                <a:gd name="connsiteY18" fmla="*/ 1240158 h 6578438"/>
                <a:gd name="connsiteX19" fmla="*/ 5771464 w 5890489"/>
                <a:gd name="connsiteY19" fmla="*/ 1214969 h 6578438"/>
                <a:gd name="connsiteX20" fmla="*/ 5651030 w 5890489"/>
                <a:gd name="connsiteY20" fmla="*/ 1115767 h 6578438"/>
                <a:gd name="connsiteX21" fmla="*/ 5123183 w 5890489"/>
                <a:gd name="connsiteY21" fmla="*/ 780443 h 6578438"/>
                <a:gd name="connsiteX22" fmla="*/ 4533860 w 5890489"/>
                <a:gd name="connsiteY22" fmla="*/ 567701 h 6578438"/>
                <a:gd name="connsiteX23" fmla="*/ 4457281 w 5890489"/>
                <a:gd name="connsiteY23" fmla="*/ 550780 h 6578438"/>
                <a:gd name="connsiteX24" fmla="*/ 4380568 w 5890489"/>
                <a:gd name="connsiteY24" fmla="*/ 535279 h 6578438"/>
                <a:gd name="connsiteX25" fmla="*/ 4303325 w 5890489"/>
                <a:gd name="connsiteY25" fmla="*/ 522879 h 6578438"/>
                <a:gd name="connsiteX26" fmla="*/ 4264769 w 5890489"/>
                <a:gd name="connsiteY26" fmla="*/ 516679 h 6578438"/>
                <a:gd name="connsiteX27" fmla="*/ 4226082 w 5890489"/>
                <a:gd name="connsiteY27" fmla="*/ 511253 h 6578438"/>
                <a:gd name="connsiteX28" fmla="*/ 4070934 w 5890489"/>
                <a:gd name="connsiteY28" fmla="*/ 494848 h 6578438"/>
                <a:gd name="connsiteX29" fmla="*/ 3915521 w 5890489"/>
                <a:gd name="connsiteY29" fmla="*/ 486065 h 6578438"/>
                <a:gd name="connsiteX30" fmla="*/ 3760241 w 5890489"/>
                <a:gd name="connsiteY30" fmla="*/ 484257 h 6578438"/>
                <a:gd name="connsiteX31" fmla="*/ 3682734 w 5890489"/>
                <a:gd name="connsiteY31" fmla="*/ 486581 h 6578438"/>
                <a:gd name="connsiteX32" fmla="*/ 3605491 w 5890489"/>
                <a:gd name="connsiteY32" fmla="*/ 488907 h 6578438"/>
                <a:gd name="connsiteX33" fmla="*/ 3527454 w 5890489"/>
                <a:gd name="connsiteY33" fmla="*/ 493169 h 6578438"/>
                <a:gd name="connsiteX34" fmla="*/ 3449151 w 5890489"/>
                <a:gd name="connsiteY34" fmla="*/ 498336 h 6578438"/>
                <a:gd name="connsiteX35" fmla="*/ 3410067 w 5890489"/>
                <a:gd name="connsiteY35" fmla="*/ 500532 h 6578438"/>
                <a:gd name="connsiteX36" fmla="*/ 3371246 w 5890489"/>
                <a:gd name="connsiteY36" fmla="*/ 504279 h 6578438"/>
                <a:gd name="connsiteX37" fmla="*/ 3293739 w 5890489"/>
                <a:gd name="connsiteY37" fmla="*/ 511512 h 6578438"/>
                <a:gd name="connsiteX38" fmla="*/ 2689445 w 5890489"/>
                <a:gd name="connsiteY38" fmla="*/ 610198 h 6578438"/>
                <a:gd name="connsiteX39" fmla="*/ 2117875 w 5890489"/>
                <a:gd name="connsiteY39" fmla="*/ 800335 h 6578438"/>
                <a:gd name="connsiteX40" fmla="*/ 1981276 w 5890489"/>
                <a:gd name="connsiteY40" fmla="*/ 865566 h 6578438"/>
                <a:gd name="connsiteX41" fmla="*/ 1847991 w 5890489"/>
                <a:gd name="connsiteY41" fmla="*/ 938676 h 6578438"/>
                <a:gd name="connsiteX42" fmla="*/ 1783069 w 5890489"/>
                <a:gd name="connsiteY42" fmla="*/ 978718 h 6578438"/>
                <a:gd name="connsiteX43" fmla="*/ 1750609 w 5890489"/>
                <a:gd name="connsiteY43" fmla="*/ 998869 h 6578438"/>
                <a:gd name="connsiteX44" fmla="*/ 1734312 w 5890489"/>
                <a:gd name="connsiteY44" fmla="*/ 1008945 h 6578438"/>
                <a:gd name="connsiteX45" fmla="*/ 1718547 w 5890489"/>
                <a:gd name="connsiteY45" fmla="*/ 1019924 h 6578438"/>
                <a:gd name="connsiteX46" fmla="*/ 1655481 w 5890489"/>
                <a:gd name="connsiteY46" fmla="*/ 1063582 h 6578438"/>
                <a:gd name="connsiteX47" fmla="*/ 1593077 w 5890489"/>
                <a:gd name="connsiteY47" fmla="*/ 1108664 h 6578438"/>
                <a:gd name="connsiteX48" fmla="*/ 1532263 w 5890489"/>
                <a:gd name="connsiteY48" fmla="*/ 1156197 h 6578438"/>
                <a:gd name="connsiteX49" fmla="*/ 1472509 w 5890489"/>
                <a:gd name="connsiteY49" fmla="*/ 1205152 h 6578438"/>
                <a:gd name="connsiteX50" fmla="*/ 1414212 w 5890489"/>
                <a:gd name="connsiteY50" fmla="*/ 1256175 h 6578438"/>
                <a:gd name="connsiteX51" fmla="*/ 1357242 w 5890489"/>
                <a:gd name="connsiteY51" fmla="*/ 1308359 h 6578438"/>
                <a:gd name="connsiteX52" fmla="*/ 1153072 w 5890489"/>
                <a:gd name="connsiteY52" fmla="*/ 1529498 h 6578438"/>
                <a:gd name="connsiteX53" fmla="*/ 1002694 w 5890489"/>
                <a:gd name="connsiteY53" fmla="*/ 1770658 h 6578438"/>
                <a:gd name="connsiteX54" fmla="*/ 974076 w 5890489"/>
                <a:gd name="connsiteY54" fmla="*/ 1835371 h 6578438"/>
                <a:gd name="connsiteX55" fmla="*/ 949564 w 5890489"/>
                <a:gd name="connsiteY55" fmla="*/ 1903573 h 6578438"/>
                <a:gd name="connsiteX56" fmla="*/ 927173 w 5890489"/>
                <a:gd name="connsiteY56" fmla="*/ 1974229 h 6578438"/>
                <a:gd name="connsiteX57" fmla="*/ 906107 w 5890489"/>
                <a:gd name="connsiteY57" fmla="*/ 2046952 h 6578438"/>
                <a:gd name="connsiteX58" fmla="*/ 751092 w 5890489"/>
                <a:gd name="connsiteY58" fmla="*/ 2676266 h 6578438"/>
                <a:gd name="connsiteX59" fmla="*/ 547189 w 5890489"/>
                <a:gd name="connsiteY59" fmla="*/ 3308422 h 6578438"/>
                <a:gd name="connsiteX60" fmla="*/ 441195 w 5890489"/>
                <a:gd name="connsiteY60" fmla="*/ 3866306 h 6578438"/>
                <a:gd name="connsiteX61" fmla="*/ 527182 w 5890489"/>
                <a:gd name="connsiteY61" fmla="*/ 4439174 h 6578438"/>
                <a:gd name="connsiteX62" fmla="*/ 775073 w 5890489"/>
                <a:gd name="connsiteY62" fmla="*/ 4987240 h 6578438"/>
                <a:gd name="connsiteX63" fmla="*/ 943206 w 5890489"/>
                <a:gd name="connsiteY63" fmla="*/ 5244933 h 6578438"/>
                <a:gd name="connsiteX64" fmla="*/ 1133728 w 5890489"/>
                <a:gd name="connsiteY64" fmla="*/ 5490356 h 6578438"/>
                <a:gd name="connsiteX65" fmla="*/ 1359626 w 5890489"/>
                <a:gd name="connsiteY65" fmla="*/ 5709815 h 6578438"/>
                <a:gd name="connsiteX66" fmla="*/ 1481254 w 5890489"/>
                <a:gd name="connsiteY66" fmla="*/ 5809146 h 6578438"/>
                <a:gd name="connsiteX67" fmla="*/ 1543260 w 5890489"/>
                <a:gd name="connsiteY67" fmla="*/ 5856940 h 6578438"/>
                <a:gd name="connsiteX68" fmla="*/ 1607518 w 5890489"/>
                <a:gd name="connsiteY68" fmla="*/ 5901374 h 6578438"/>
                <a:gd name="connsiteX69" fmla="*/ 2145566 w 5890489"/>
                <a:gd name="connsiteY69" fmla="*/ 6193814 h 6578438"/>
                <a:gd name="connsiteX70" fmla="*/ 2214991 w 5890489"/>
                <a:gd name="connsiteY70" fmla="*/ 6221844 h 6578438"/>
                <a:gd name="connsiteX71" fmla="*/ 2249307 w 5890489"/>
                <a:gd name="connsiteY71" fmla="*/ 6236182 h 6578438"/>
                <a:gd name="connsiteX72" fmla="*/ 2284285 w 5890489"/>
                <a:gd name="connsiteY72" fmla="*/ 6248711 h 6578438"/>
                <a:gd name="connsiteX73" fmla="*/ 2354241 w 5890489"/>
                <a:gd name="connsiteY73" fmla="*/ 6273124 h 6578438"/>
                <a:gd name="connsiteX74" fmla="*/ 2371597 w 5890489"/>
                <a:gd name="connsiteY74" fmla="*/ 6279324 h 6578438"/>
                <a:gd name="connsiteX75" fmla="*/ 2387894 w 5890489"/>
                <a:gd name="connsiteY75" fmla="*/ 6287719 h 6578438"/>
                <a:gd name="connsiteX76" fmla="*/ 2421414 w 5890489"/>
                <a:gd name="connsiteY76" fmla="*/ 6302186 h 6578438"/>
                <a:gd name="connsiteX77" fmla="*/ 2489117 w 5890489"/>
                <a:gd name="connsiteY77" fmla="*/ 6329441 h 6578438"/>
                <a:gd name="connsiteX78" fmla="*/ 2522902 w 5890489"/>
                <a:gd name="connsiteY78" fmla="*/ 6343134 h 6578438"/>
                <a:gd name="connsiteX79" fmla="*/ 2556953 w 5890489"/>
                <a:gd name="connsiteY79" fmla="*/ 6356051 h 6578438"/>
                <a:gd name="connsiteX80" fmla="*/ 2695009 w 5890489"/>
                <a:gd name="connsiteY80" fmla="*/ 6401905 h 6578438"/>
                <a:gd name="connsiteX81" fmla="*/ 3268035 w 5890489"/>
                <a:gd name="connsiteY81" fmla="*/ 6501238 h 6578438"/>
                <a:gd name="connsiteX82" fmla="*/ 3341038 w 5890489"/>
                <a:gd name="connsiteY82" fmla="*/ 6506145 h 6578438"/>
                <a:gd name="connsiteX83" fmla="*/ 3414703 w 5890489"/>
                <a:gd name="connsiteY83" fmla="*/ 6507050 h 6578438"/>
                <a:gd name="connsiteX84" fmla="*/ 3488237 w 5890489"/>
                <a:gd name="connsiteY84" fmla="*/ 6508212 h 6578438"/>
                <a:gd name="connsiteX85" fmla="*/ 3524142 w 5890489"/>
                <a:gd name="connsiteY85" fmla="*/ 6507955 h 6578438"/>
                <a:gd name="connsiteX86" fmla="*/ 3559252 w 5890489"/>
                <a:gd name="connsiteY86" fmla="*/ 6506921 h 6578438"/>
                <a:gd name="connsiteX87" fmla="*/ 3629207 w 5890489"/>
                <a:gd name="connsiteY87" fmla="*/ 6503045 h 6578438"/>
                <a:gd name="connsiteX88" fmla="*/ 3698633 w 5890489"/>
                <a:gd name="connsiteY88" fmla="*/ 6496845 h 6578438"/>
                <a:gd name="connsiteX89" fmla="*/ 3733213 w 5890489"/>
                <a:gd name="connsiteY89" fmla="*/ 6493357 h 6578438"/>
                <a:gd name="connsiteX90" fmla="*/ 3767529 w 5890489"/>
                <a:gd name="connsiteY90" fmla="*/ 6488707 h 6578438"/>
                <a:gd name="connsiteX91" fmla="*/ 3801845 w 5890489"/>
                <a:gd name="connsiteY91" fmla="*/ 6484057 h 6578438"/>
                <a:gd name="connsiteX92" fmla="*/ 3835895 w 5890489"/>
                <a:gd name="connsiteY92" fmla="*/ 6478116 h 6578438"/>
                <a:gd name="connsiteX93" fmla="*/ 4364801 w 5890489"/>
                <a:gd name="connsiteY93" fmla="*/ 6308517 h 6578438"/>
                <a:gd name="connsiteX94" fmla="*/ 4861379 w 5890489"/>
                <a:gd name="connsiteY94" fmla="*/ 6000576 h 6578438"/>
                <a:gd name="connsiteX95" fmla="*/ 5341263 w 5890489"/>
                <a:gd name="connsiteY95" fmla="*/ 5605834 h 6578438"/>
                <a:gd name="connsiteX96" fmla="*/ 5587301 w 5890489"/>
                <a:gd name="connsiteY96" fmla="*/ 5390379 h 6578438"/>
                <a:gd name="connsiteX97" fmla="*/ 5849105 w 5890489"/>
                <a:gd name="connsiteY97" fmla="*/ 5176344 h 6578438"/>
                <a:gd name="connsiteX98" fmla="*/ 5890489 w 5890489"/>
                <a:gd name="connsiteY98" fmla="*/ 5145260 h 6578438"/>
                <a:gd name="connsiteX99" fmla="*/ 5890489 w 5890489"/>
                <a:gd name="connsiteY99" fmla="*/ 5995323 h 6578438"/>
                <a:gd name="connsiteX100" fmla="*/ 5811477 w 5890489"/>
                <a:gd name="connsiteY100" fmla="*/ 6077819 h 6578438"/>
                <a:gd name="connsiteX101" fmla="*/ 5301384 w 5890489"/>
                <a:gd name="connsiteY101" fmla="*/ 6542958 h 6578438"/>
                <a:gd name="connsiteX102" fmla="*/ 5252008 w 5890489"/>
                <a:gd name="connsiteY102" fmla="*/ 6578438 h 6578438"/>
                <a:gd name="connsiteX103" fmla="*/ 1653730 w 5890489"/>
                <a:gd name="connsiteY103" fmla="*/ 6578438 h 6578438"/>
                <a:gd name="connsiteX104" fmla="*/ 1549768 w 5890489"/>
                <a:gd name="connsiteY104" fmla="*/ 6488821 h 6578438"/>
                <a:gd name="connsiteX105" fmla="*/ 1298282 w 5890489"/>
                <a:gd name="connsiteY105" fmla="*/ 6243932 h 6578438"/>
                <a:gd name="connsiteX106" fmla="*/ 1237999 w 5890489"/>
                <a:gd name="connsiteY106" fmla="*/ 6181671 h 6578438"/>
                <a:gd name="connsiteX107" fmla="*/ 1179967 w 5890489"/>
                <a:gd name="connsiteY107" fmla="*/ 6117862 h 6578438"/>
                <a:gd name="connsiteX108" fmla="*/ 1121936 w 5890489"/>
                <a:gd name="connsiteY108" fmla="*/ 6054569 h 6578438"/>
                <a:gd name="connsiteX109" fmla="*/ 1065628 w 5890489"/>
                <a:gd name="connsiteY109" fmla="*/ 5990243 h 6578438"/>
                <a:gd name="connsiteX110" fmla="*/ 954335 w 5890489"/>
                <a:gd name="connsiteY110" fmla="*/ 5861460 h 6578438"/>
                <a:gd name="connsiteX111" fmla="*/ 898953 w 5890489"/>
                <a:gd name="connsiteY111" fmla="*/ 5797393 h 6578438"/>
                <a:gd name="connsiteX112" fmla="*/ 842908 w 5890489"/>
                <a:gd name="connsiteY112" fmla="*/ 5733582 h 6578438"/>
                <a:gd name="connsiteX113" fmla="*/ 622442 w 5890489"/>
                <a:gd name="connsiteY113" fmla="*/ 5471884 h 6578438"/>
                <a:gd name="connsiteX114" fmla="*/ 425559 w 5890489"/>
                <a:gd name="connsiteY114" fmla="*/ 5190036 h 6578438"/>
                <a:gd name="connsiteX115" fmla="*/ 123877 w 5890489"/>
                <a:gd name="connsiteY115" fmla="*/ 4564210 h 6578438"/>
                <a:gd name="connsiteX116" fmla="*/ 130 w 5890489"/>
                <a:gd name="connsiteY116" fmla="*/ 3865530 h 6578438"/>
                <a:gd name="connsiteX117" fmla="*/ 30602 w 5890489"/>
                <a:gd name="connsiteY117" fmla="*/ 3505793 h 6578438"/>
                <a:gd name="connsiteX118" fmla="*/ 126924 w 5890489"/>
                <a:gd name="connsiteY118" fmla="*/ 3157164 h 6578438"/>
                <a:gd name="connsiteX119" fmla="*/ 334803 w 5890489"/>
                <a:gd name="connsiteY119" fmla="*/ 2560530 h 6578438"/>
                <a:gd name="connsiteX120" fmla="*/ 381176 w 5890489"/>
                <a:gd name="connsiteY120" fmla="*/ 2409144 h 6578438"/>
                <a:gd name="connsiteX121" fmla="*/ 425825 w 5890489"/>
                <a:gd name="connsiteY121" fmla="*/ 2255819 h 6578438"/>
                <a:gd name="connsiteX122" fmla="*/ 470210 w 5890489"/>
                <a:gd name="connsiteY122" fmla="*/ 2099523 h 6578438"/>
                <a:gd name="connsiteX123" fmla="*/ 492998 w 5890489"/>
                <a:gd name="connsiteY123" fmla="*/ 2020213 h 6578438"/>
                <a:gd name="connsiteX124" fmla="*/ 517509 w 5890489"/>
                <a:gd name="connsiteY124" fmla="*/ 1939224 h 6578438"/>
                <a:gd name="connsiteX125" fmla="*/ 544007 w 5890489"/>
                <a:gd name="connsiteY125" fmla="*/ 1857201 h 6578438"/>
                <a:gd name="connsiteX126" fmla="*/ 573288 w 5890489"/>
                <a:gd name="connsiteY126" fmla="*/ 1774274 h 6578438"/>
                <a:gd name="connsiteX127" fmla="*/ 606146 w 5890489"/>
                <a:gd name="connsiteY127" fmla="*/ 1690832 h 6578438"/>
                <a:gd name="connsiteX128" fmla="*/ 644569 w 5890489"/>
                <a:gd name="connsiteY128" fmla="*/ 1607775 h 6578438"/>
                <a:gd name="connsiteX129" fmla="*/ 837874 w 5890489"/>
                <a:gd name="connsiteY129" fmla="*/ 1297638 h 6578438"/>
                <a:gd name="connsiteX130" fmla="*/ 1069602 w 5890489"/>
                <a:gd name="connsiteY130" fmla="*/ 1032194 h 6578438"/>
                <a:gd name="connsiteX131" fmla="*/ 1130548 w 5890489"/>
                <a:gd name="connsiteY131" fmla="*/ 970839 h 6578438"/>
                <a:gd name="connsiteX132" fmla="*/ 1192024 w 5890489"/>
                <a:gd name="connsiteY132" fmla="*/ 910129 h 6578438"/>
                <a:gd name="connsiteX133" fmla="*/ 1255356 w 5890489"/>
                <a:gd name="connsiteY133" fmla="*/ 850841 h 6578438"/>
                <a:gd name="connsiteX134" fmla="*/ 1319614 w 5890489"/>
                <a:gd name="connsiteY134" fmla="*/ 792068 h 6578438"/>
                <a:gd name="connsiteX135" fmla="*/ 1385728 w 5890489"/>
                <a:gd name="connsiteY135" fmla="*/ 734975 h 6578438"/>
                <a:gd name="connsiteX136" fmla="*/ 1452768 w 5890489"/>
                <a:gd name="connsiteY136" fmla="*/ 678528 h 6578438"/>
                <a:gd name="connsiteX137" fmla="*/ 1469594 w 5890489"/>
                <a:gd name="connsiteY137" fmla="*/ 664449 h 6578438"/>
                <a:gd name="connsiteX138" fmla="*/ 1487083 w 5890489"/>
                <a:gd name="connsiteY138" fmla="*/ 651015 h 6578438"/>
                <a:gd name="connsiteX139" fmla="*/ 1522193 w 5890489"/>
                <a:gd name="connsiteY139" fmla="*/ 624277 h 6578438"/>
                <a:gd name="connsiteX140" fmla="*/ 1592415 w 5890489"/>
                <a:gd name="connsiteY140" fmla="*/ 570671 h 6578438"/>
                <a:gd name="connsiteX141" fmla="*/ 1738287 w 5890489"/>
                <a:gd name="connsiteY141" fmla="*/ 469402 h 6578438"/>
                <a:gd name="connsiteX142" fmla="*/ 1890918 w 5890489"/>
                <a:gd name="connsiteY142" fmla="*/ 376530 h 6578438"/>
                <a:gd name="connsiteX143" fmla="*/ 2555363 w 5890489"/>
                <a:gd name="connsiteY143" fmla="*/ 105274 h 6578438"/>
                <a:gd name="connsiteX144" fmla="*/ 3259291 w 5890489"/>
                <a:gd name="connsiteY144" fmla="*/ 3229 h 6578438"/>
                <a:gd name="connsiteX145" fmla="*/ 3347265 w 5890489"/>
                <a:gd name="connsiteY145" fmla="*/ 903 h 657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5890489" h="6578438">
                  <a:moveTo>
                    <a:pt x="3391253" y="0"/>
                  </a:moveTo>
                  <a:lnTo>
                    <a:pt x="3434974" y="646"/>
                  </a:lnTo>
                  <a:lnTo>
                    <a:pt x="3522419" y="2712"/>
                  </a:lnTo>
                  <a:cubicBezTo>
                    <a:pt x="3551567" y="3488"/>
                    <a:pt x="3580451" y="3746"/>
                    <a:pt x="3610261" y="6458"/>
                  </a:cubicBezTo>
                  <a:cubicBezTo>
                    <a:pt x="3669353" y="10850"/>
                    <a:pt x="3728179" y="14337"/>
                    <a:pt x="3786872" y="20667"/>
                  </a:cubicBezTo>
                  <a:lnTo>
                    <a:pt x="3962291" y="43530"/>
                  </a:lnTo>
                  <a:lnTo>
                    <a:pt x="4135855" y="75176"/>
                  </a:lnTo>
                  <a:cubicBezTo>
                    <a:pt x="4193224" y="87836"/>
                    <a:pt x="4250328" y="101398"/>
                    <a:pt x="4307299" y="114315"/>
                  </a:cubicBezTo>
                  <a:cubicBezTo>
                    <a:pt x="4364139" y="128394"/>
                    <a:pt x="4420050" y="145575"/>
                    <a:pt x="4476358" y="160816"/>
                  </a:cubicBezTo>
                  <a:cubicBezTo>
                    <a:pt x="4504580" y="167921"/>
                    <a:pt x="4532138" y="177995"/>
                    <a:pt x="4559829" y="186779"/>
                  </a:cubicBezTo>
                  <a:lnTo>
                    <a:pt x="4642901" y="213648"/>
                  </a:lnTo>
                  <a:cubicBezTo>
                    <a:pt x="4863234" y="288307"/>
                    <a:pt x="5076414" y="379371"/>
                    <a:pt x="5280847" y="485936"/>
                  </a:cubicBezTo>
                  <a:cubicBezTo>
                    <a:pt x="5485018" y="592631"/>
                    <a:pt x="5681768" y="713145"/>
                    <a:pt x="5865400" y="851099"/>
                  </a:cubicBezTo>
                  <a:lnTo>
                    <a:pt x="5890489" y="870950"/>
                  </a:lnTo>
                  <a:lnTo>
                    <a:pt x="5890489" y="1321814"/>
                  </a:lnTo>
                  <a:lnTo>
                    <a:pt x="5887395" y="1318952"/>
                  </a:lnTo>
                  <a:lnTo>
                    <a:pt x="5830291" y="1265992"/>
                  </a:lnTo>
                  <a:lnTo>
                    <a:pt x="5815981" y="1252687"/>
                  </a:lnTo>
                  <a:lnTo>
                    <a:pt x="5801142" y="1240158"/>
                  </a:lnTo>
                  <a:lnTo>
                    <a:pt x="5771464" y="1214969"/>
                  </a:lnTo>
                  <a:cubicBezTo>
                    <a:pt x="5731849" y="1181385"/>
                    <a:pt x="5692897" y="1146896"/>
                    <a:pt x="5651030" y="1115767"/>
                  </a:cubicBezTo>
                  <a:cubicBezTo>
                    <a:pt x="5487534" y="986985"/>
                    <a:pt x="5311321" y="872542"/>
                    <a:pt x="5123183" y="780443"/>
                  </a:cubicBezTo>
                  <a:cubicBezTo>
                    <a:pt x="4935309" y="688087"/>
                    <a:pt x="4737102" y="616398"/>
                    <a:pt x="4533860" y="567701"/>
                  </a:cubicBezTo>
                  <a:lnTo>
                    <a:pt x="4457281" y="550780"/>
                  </a:lnTo>
                  <a:cubicBezTo>
                    <a:pt x="4431709" y="545484"/>
                    <a:pt x="4406536" y="538896"/>
                    <a:pt x="4380568" y="535279"/>
                  </a:cubicBezTo>
                  <a:lnTo>
                    <a:pt x="4303325" y="522879"/>
                  </a:lnTo>
                  <a:lnTo>
                    <a:pt x="4264769" y="516679"/>
                  </a:lnTo>
                  <a:cubicBezTo>
                    <a:pt x="4251918" y="514612"/>
                    <a:pt x="4239067" y="512415"/>
                    <a:pt x="4226082" y="511253"/>
                  </a:cubicBezTo>
                  <a:cubicBezTo>
                    <a:pt x="4174145" y="505829"/>
                    <a:pt x="4122606" y="499498"/>
                    <a:pt x="4070934" y="494848"/>
                  </a:cubicBezTo>
                  <a:lnTo>
                    <a:pt x="3915521" y="486065"/>
                  </a:lnTo>
                  <a:lnTo>
                    <a:pt x="3760241" y="484257"/>
                  </a:lnTo>
                  <a:cubicBezTo>
                    <a:pt x="3734405" y="483869"/>
                    <a:pt x="3708571" y="485936"/>
                    <a:pt x="3682734" y="486581"/>
                  </a:cubicBezTo>
                  <a:lnTo>
                    <a:pt x="3605491" y="488907"/>
                  </a:lnTo>
                  <a:cubicBezTo>
                    <a:pt x="3579921" y="489165"/>
                    <a:pt x="3553555" y="491490"/>
                    <a:pt x="3527454" y="493169"/>
                  </a:cubicBezTo>
                  <a:lnTo>
                    <a:pt x="3449151" y="498336"/>
                  </a:lnTo>
                  <a:lnTo>
                    <a:pt x="3410067" y="500532"/>
                  </a:lnTo>
                  <a:lnTo>
                    <a:pt x="3371246" y="504279"/>
                  </a:lnTo>
                  <a:cubicBezTo>
                    <a:pt x="3345410" y="506862"/>
                    <a:pt x="3319575" y="509315"/>
                    <a:pt x="3293739" y="511512"/>
                  </a:cubicBezTo>
                  <a:cubicBezTo>
                    <a:pt x="3087450" y="531662"/>
                    <a:pt x="2885531" y="563180"/>
                    <a:pt x="2689445" y="610198"/>
                  </a:cubicBezTo>
                  <a:cubicBezTo>
                    <a:pt x="2493357" y="657344"/>
                    <a:pt x="2302303" y="719088"/>
                    <a:pt x="2117875" y="800335"/>
                  </a:cubicBezTo>
                  <a:cubicBezTo>
                    <a:pt x="2072298" y="821648"/>
                    <a:pt x="2026854" y="843606"/>
                    <a:pt x="1981276" y="865566"/>
                  </a:cubicBezTo>
                  <a:cubicBezTo>
                    <a:pt x="1937025" y="889978"/>
                    <a:pt x="1891978" y="913229"/>
                    <a:pt x="1847991" y="938676"/>
                  </a:cubicBezTo>
                  <a:lnTo>
                    <a:pt x="1783069" y="978718"/>
                  </a:lnTo>
                  <a:lnTo>
                    <a:pt x="1750609" y="998869"/>
                  </a:lnTo>
                  <a:lnTo>
                    <a:pt x="1734312" y="1008945"/>
                  </a:lnTo>
                  <a:lnTo>
                    <a:pt x="1718547" y="1019924"/>
                  </a:lnTo>
                  <a:lnTo>
                    <a:pt x="1655481" y="1063582"/>
                  </a:lnTo>
                  <a:cubicBezTo>
                    <a:pt x="1634414" y="1078178"/>
                    <a:pt x="1612950" y="1092259"/>
                    <a:pt x="1593077" y="1108664"/>
                  </a:cubicBezTo>
                  <a:lnTo>
                    <a:pt x="1532263" y="1156197"/>
                  </a:lnTo>
                  <a:cubicBezTo>
                    <a:pt x="1511992" y="1172085"/>
                    <a:pt x="1491587" y="1187844"/>
                    <a:pt x="1472509" y="1205152"/>
                  </a:cubicBezTo>
                  <a:lnTo>
                    <a:pt x="1414212" y="1256175"/>
                  </a:lnTo>
                  <a:cubicBezTo>
                    <a:pt x="1395001" y="1273354"/>
                    <a:pt x="1375127" y="1290147"/>
                    <a:pt x="1357242" y="1308359"/>
                  </a:cubicBezTo>
                  <a:cubicBezTo>
                    <a:pt x="1283178" y="1379532"/>
                    <a:pt x="1212163" y="1452513"/>
                    <a:pt x="1153072" y="1529498"/>
                  </a:cubicBezTo>
                  <a:cubicBezTo>
                    <a:pt x="1090933" y="1605578"/>
                    <a:pt x="1043501" y="1685794"/>
                    <a:pt x="1002694" y="1770658"/>
                  </a:cubicBezTo>
                  <a:lnTo>
                    <a:pt x="974076" y="1835371"/>
                  </a:lnTo>
                  <a:lnTo>
                    <a:pt x="949564" y="1903573"/>
                  </a:lnTo>
                  <a:cubicBezTo>
                    <a:pt x="940820" y="1925661"/>
                    <a:pt x="934593" y="1950719"/>
                    <a:pt x="927173" y="1974229"/>
                  </a:cubicBezTo>
                  <a:cubicBezTo>
                    <a:pt x="920019" y="1998254"/>
                    <a:pt x="912468" y="2021504"/>
                    <a:pt x="906107" y="2046952"/>
                  </a:cubicBezTo>
                  <a:cubicBezTo>
                    <a:pt x="853906" y="2245614"/>
                    <a:pt x="809918" y="2463136"/>
                    <a:pt x="751092" y="2676266"/>
                  </a:cubicBezTo>
                  <a:cubicBezTo>
                    <a:pt x="693458" y="2889912"/>
                    <a:pt x="624166" y="3100976"/>
                    <a:pt x="547189" y="3308422"/>
                  </a:cubicBezTo>
                  <a:cubicBezTo>
                    <a:pt x="479617" y="3487580"/>
                    <a:pt x="444109" y="3675523"/>
                    <a:pt x="441195" y="3866306"/>
                  </a:cubicBezTo>
                  <a:cubicBezTo>
                    <a:pt x="438014" y="4057089"/>
                    <a:pt x="469282" y="4250456"/>
                    <a:pt x="527182" y="4439174"/>
                  </a:cubicBezTo>
                  <a:cubicBezTo>
                    <a:pt x="584815" y="4628278"/>
                    <a:pt x="671067" y="4811828"/>
                    <a:pt x="775073" y="4987240"/>
                  </a:cubicBezTo>
                  <a:cubicBezTo>
                    <a:pt x="827009" y="5075075"/>
                    <a:pt x="884246" y="5160327"/>
                    <a:pt x="943206" y="5244933"/>
                  </a:cubicBezTo>
                  <a:cubicBezTo>
                    <a:pt x="1002296" y="5329411"/>
                    <a:pt x="1064964" y="5412337"/>
                    <a:pt x="1133728" y="5490356"/>
                  </a:cubicBezTo>
                  <a:cubicBezTo>
                    <a:pt x="1203949" y="5567728"/>
                    <a:pt x="1279337" y="5642259"/>
                    <a:pt x="1359626" y="5709815"/>
                  </a:cubicBezTo>
                  <a:cubicBezTo>
                    <a:pt x="1398711" y="5744949"/>
                    <a:pt x="1439916" y="5777241"/>
                    <a:pt x="1481254" y="5809146"/>
                  </a:cubicBezTo>
                  <a:cubicBezTo>
                    <a:pt x="1501922" y="5825163"/>
                    <a:pt x="1522325" y="5841309"/>
                    <a:pt x="1543260" y="5856940"/>
                  </a:cubicBezTo>
                  <a:cubicBezTo>
                    <a:pt x="1564591" y="5871923"/>
                    <a:pt x="1585921" y="5886777"/>
                    <a:pt x="1607518" y="5901374"/>
                  </a:cubicBezTo>
                  <a:cubicBezTo>
                    <a:pt x="1778565" y="6019693"/>
                    <a:pt x="1961271" y="6115924"/>
                    <a:pt x="2145566" y="6193814"/>
                  </a:cubicBezTo>
                  <a:lnTo>
                    <a:pt x="2214991" y="6221844"/>
                  </a:lnTo>
                  <a:lnTo>
                    <a:pt x="2249307" y="6236182"/>
                  </a:lnTo>
                  <a:cubicBezTo>
                    <a:pt x="2260702" y="6241089"/>
                    <a:pt x="2272625" y="6244577"/>
                    <a:pt x="2284285" y="6248711"/>
                  </a:cubicBezTo>
                  <a:lnTo>
                    <a:pt x="2354241" y="6273124"/>
                  </a:lnTo>
                  <a:cubicBezTo>
                    <a:pt x="2360070" y="6275190"/>
                    <a:pt x="2365899" y="6277128"/>
                    <a:pt x="2371597" y="6279324"/>
                  </a:cubicBezTo>
                  <a:cubicBezTo>
                    <a:pt x="2377161" y="6281778"/>
                    <a:pt x="2382329" y="6285007"/>
                    <a:pt x="2387894" y="6287719"/>
                  </a:cubicBezTo>
                  <a:cubicBezTo>
                    <a:pt x="2398757" y="6293274"/>
                    <a:pt x="2410153" y="6297666"/>
                    <a:pt x="2421414" y="6302186"/>
                  </a:cubicBezTo>
                  <a:lnTo>
                    <a:pt x="2489117" y="6329441"/>
                  </a:lnTo>
                  <a:lnTo>
                    <a:pt x="2522902" y="6343134"/>
                  </a:lnTo>
                  <a:cubicBezTo>
                    <a:pt x="2534165" y="6347654"/>
                    <a:pt x="2545294" y="6352563"/>
                    <a:pt x="2556953" y="6356051"/>
                  </a:cubicBezTo>
                  <a:lnTo>
                    <a:pt x="2695009" y="6401905"/>
                  </a:lnTo>
                  <a:cubicBezTo>
                    <a:pt x="2880895" y="6457190"/>
                    <a:pt x="3073141" y="6489095"/>
                    <a:pt x="3268035" y="6501238"/>
                  </a:cubicBezTo>
                  <a:cubicBezTo>
                    <a:pt x="3292413" y="6502659"/>
                    <a:pt x="3316527" y="6505629"/>
                    <a:pt x="3341038" y="6506145"/>
                  </a:cubicBezTo>
                  <a:lnTo>
                    <a:pt x="3414703" y="6507050"/>
                  </a:lnTo>
                  <a:lnTo>
                    <a:pt x="3488237" y="6508212"/>
                  </a:lnTo>
                  <a:cubicBezTo>
                    <a:pt x="3500690" y="6508729"/>
                    <a:pt x="3512483" y="6508471"/>
                    <a:pt x="3524142" y="6507955"/>
                  </a:cubicBezTo>
                  <a:lnTo>
                    <a:pt x="3559252" y="6506921"/>
                  </a:lnTo>
                  <a:cubicBezTo>
                    <a:pt x="3582835" y="6506792"/>
                    <a:pt x="3605889" y="6504467"/>
                    <a:pt x="3629207" y="6503045"/>
                  </a:cubicBezTo>
                  <a:cubicBezTo>
                    <a:pt x="3652526" y="6502012"/>
                    <a:pt x="3675579" y="6499171"/>
                    <a:pt x="3698633" y="6496845"/>
                  </a:cubicBezTo>
                  <a:cubicBezTo>
                    <a:pt x="3710160" y="6495683"/>
                    <a:pt x="3721819" y="6494907"/>
                    <a:pt x="3733213" y="6493357"/>
                  </a:cubicBezTo>
                  <a:lnTo>
                    <a:pt x="3767529" y="6488707"/>
                  </a:lnTo>
                  <a:lnTo>
                    <a:pt x="3801845" y="6484057"/>
                  </a:lnTo>
                  <a:lnTo>
                    <a:pt x="3835895" y="6478116"/>
                  </a:lnTo>
                  <a:cubicBezTo>
                    <a:pt x="4017673" y="6446727"/>
                    <a:pt x="4194152" y="6390281"/>
                    <a:pt x="4364801" y="6308517"/>
                  </a:cubicBezTo>
                  <a:cubicBezTo>
                    <a:pt x="4535583" y="6227139"/>
                    <a:pt x="4700138" y="6120962"/>
                    <a:pt x="4861379" y="6000576"/>
                  </a:cubicBezTo>
                  <a:cubicBezTo>
                    <a:pt x="5022621" y="5879931"/>
                    <a:pt x="5180684" y="5745337"/>
                    <a:pt x="5341263" y="5605834"/>
                  </a:cubicBezTo>
                  <a:lnTo>
                    <a:pt x="5587301" y="5390379"/>
                  </a:lnTo>
                  <a:cubicBezTo>
                    <a:pt x="5674216" y="5315718"/>
                    <a:pt x="5761527" y="5244416"/>
                    <a:pt x="5849105" y="5176344"/>
                  </a:cubicBezTo>
                  <a:lnTo>
                    <a:pt x="5890489" y="5145260"/>
                  </a:lnTo>
                  <a:lnTo>
                    <a:pt x="5890489" y="5995323"/>
                  </a:lnTo>
                  <a:lnTo>
                    <a:pt x="5811477" y="6077819"/>
                  </a:lnTo>
                  <a:cubicBezTo>
                    <a:pt x="5654739" y="6238377"/>
                    <a:pt x="5487138" y="6396093"/>
                    <a:pt x="5301384" y="6542958"/>
                  </a:cubicBezTo>
                  <a:lnTo>
                    <a:pt x="5252008" y="6578438"/>
                  </a:lnTo>
                  <a:lnTo>
                    <a:pt x="1653730" y="6578438"/>
                  </a:lnTo>
                  <a:lnTo>
                    <a:pt x="1549768" y="6488821"/>
                  </a:lnTo>
                  <a:cubicBezTo>
                    <a:pt x="1461976" y="6409495"/>
                    <a:pt x="1378573" y="6327182"/>
                    <a:pt x="1298282" y="6243932"/>
                  </a:cubicBezTo>
                  <a:cubicBezTo>
                    <a:pt x="1278277" y="6223006"/>
                    <a:pt x="1258138" y="6202210"/>
                    <a:pt x="1237999" y="6181671"/>
                  </a:cubicBezTo>
                  <a:lnTo>
                    <a:pt x="1179967" y="6117862"/>
                  </a:lnTo>
                  <a:lnTo>
                    <a:pt x="1121936" y="6054569"/>
                  </a:lnTo>
                  <a:cubicBezTo>
                    <a:pt x="1102328" y="6033644"/>
                    <a:pt x="1084573" y="6011427"/>
                    <a:pt x="1065628" y="5990243"/>
                  </a:cubicBezTo>
                  <a:cubicBezTo>
                    <a:pt x="1028662" y="5947099"/>
                    <a:pt x="990239" y="5904991"/>
                    <a:pt x="954335" y="5861460"/>
                  </a:cubicBezTo>
                  <a:cubicBezTo>
                    <a:pt x="936050" y="5840018"/>
                    <a:pt x="917634" y="5818446"/>
                    <a:pt x="898953" y="5797393"/>
                  </a:cubicBezTo>
                  <a:cubicBezTo>
                    <a:pt x="880404" y="5776208"/>
                    <a:pt x="861325" y="5755412"/>
                    <a:pt x="842908" y="5733582"/>
                  </a:cubicBezTo>
                  <a:cubicBezTo>
                    <a:pt x="767919" y="5647942"/>
                    <a:pt x="693061" y="5561786"/>
                    <a:pt x="622442" y="5471884"/>
                  </a:cubicBezTo>
                  <a:cubicBezTo>
                    <a:pt x="551559" y="5382112"/>
                    <a:pt x="486639" y="5287430"/>
                    <a:pt x="425559" y="5190036"/>
                  </a:cubicBezTo>
                  <a:cubicBezTo>
                    <a:pt x="303668" y="4994990"/>
                    <a:pt x="200193" y="4786123"/>
                    <a:pt x="123877" y="4564210"/>
                  </a:cubicBezTo>
                  <a:cubicBezTo>
                    <a:pt x="47694" y="4342555"/>
                    <a:pt x="2249" y="4106045"/>
                    <a:pt x="130" y="3865530"/>
                  </a:cubicBezTo>
                  <a:cubicBezTo>
                    <a:pt x="-1328" y="3745403"/>
                    <a:pt x="9537" y="3624629"/>
                    <a:pt x="30602" y="3505793"/>
                  </a:cubicBezTo>
                  <a:cubicBezTo>
                    <a:pt x="51802" y="3386828"/>
                    <a:pt x="84659" y="3270059"/>
                    <a:pt x="126924" y="3157164"/>
                  </a:cubicBezTo>
                  <a:cubicBezTo>
                    <a:pt x="200457" y="2959276"/>
                    <a:pt x="271737" y="2761388"/>
                    <a:pt x="334803" y="2560530"/>
                  </a:cubicBezTo>
                  <a:lnTo>
                    <a:pt x="381176" y="2409144"/>
                  </a:lnTo>
                  <a:lnTo>
                    <a:pt x="425825" y="2255819"/>
                  </a:lnTo>
                  <a:lnTo>
                    <a:pt x="470210" y="2099523"/>
                  </a:lnTo>
                  <a:lnTo>
                    <a:pt x="492998" y="2020213"/>
                  </a:lnTo>
                  <a:lnTo>
                    <a:pt x="517509" y="1939224"/>
                  </a:lnTo>
                  <a:cubicBezTo>
                    <a:pt x="525061" y="1912485"/>
                    <a:pt x="534866" y="1884586"/>
                    <a:pt x="544007" y="1857201"/>
                  </a:cubicBezTo>
                  <a:cubicBezTo>
                    <a:pt x="553680" y="1829559"/>
                    <a:pt x="561496" y="1802304"/>
                    <a:pt x="573288" y="1774274"/>
                  </a:cubicBezTo>
                  <a:lnTo>
                    <a:pt x="606146" y="1690832"/>
                  </a:lnTo>
                  <a:cubicBezTo>
                    <a:pt x="618467" y="1663060"/>
                    <a:pt x="631716" y="1635417"/>
                    <a:pt x="644569" y="1607775"/>
                  </a:cubicBezTo>
                  <a:cubicBezTo>
                    <a:pt x="698625" y="1498368"/>
                    <a:pt x="763413" y="1391287"/>
                    <a:pt x="837874" y="1297638"/>
                  </a:cubicBezTo>
                  <a:cubicBezTo>
                    <a:pt x="910348" y="1201278"/>
                    <a:pt x="990107" y="1115897"/>
                    <a:pt x="1069602" y="1032194"/>
                  </a:cubicBezTo>
                  <a:cubicBezTo>
                    <a:pt x="1089079" y="1010624"/>
                    <a:pt x="1110012" y="990990"/>
                    <a:pt x="1130548" y="970839"/>
                  </a:cubicBezTo>
                  <a:lnTo>
                    <a:pt x="1192024" y="910129"/>
                  </a:lnTo>
                  <a:cubicBezTo>
                    <a:pt x="1212031" y="889462"/>
                    <a:pt x="1234024" y="870475"/>
                    <a:pt x="1255356" y="850841"/>
                  </a:cubicBezTo>
                  <a:lnTo>
                    <a:pt x="1319614" y="792068"/>
                  </a:lnTo>
                  <a:cubicBezTo>
                    <a:pt x="1340680" y="772176"/>
                    <a:pt x="1363469" y="753834"/>
                    <a:pt x="1385728" y="734975"/>
                  </a:cubicBezTo>
                  <a:lnTo>
                    <a:pt x="1452768" y="678528"/>
                  </a:lnTo>
                  <a:lnTo>
                    <a:pt x="1469594" y="664449"/>
                  </a:lnTo>
                  <a:lnTo>
                    <a:pt x="1487083" y="651015"/>
                  </a:lnTo>
                  <a:lnTo>
                    <a:pt x="1522193" y="624277"/>
                  </a:lnTo>
                  <a:lnTo>
                    <a:pt x="1592415" y="570671"/>
                  </a:lnTo>
                  <a:cubicBezTo>
                    <a:pt x="1640110" y="535925"/>
                    <a:pt x="1689531" y="503245"/>
                    <a:pt x="1738287" y="469402"/>
                  </a:cubicBezTo>
                  <a:cubicBezTo>
                    <a:pt x="1788634" y="438015"/>
                    <a:pt x="1839643" y="407013"/>
                    <a:pt x="1890918" y="376530"/>
                  </a:cubicBezTo>
                  <a:cubicBezTo>
                    <a:pt x="2098400" y="258209"/>
                    <a:pt x="2323503" y="166241"/>
                    <a:pt x="2555363" y="105274"/>
                  </a:cubicBezTo>
                  <a:cubicBezTo>
                    <a:pt x="2787223" y="44047"/>
                    <a:pt x="3024516" y="12013"/>
                    <a:pt x="3259291" y="3229"/>
                  </a:cubicBezTo>
                  <a:lnTo>
                    <a:pt x="3347265" y="903"/>
                  </a:ln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ACA5348F-9FF6-485F-898D-1BED7EC727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5999" y="52997"/>
              <a:ext cx="6093363" cy="6805004"/>
            </a:xfrm>
            <a:custGeom>
              <a:avLst/>
              <a:gdLst>
                <a:gd name="connsiteX0" fmla="*/ 3517682 w 5890491"/>
                <a:gd name="connsiteY0" fmla="*/ 0 h 6578439"/>
                <a:gd name="connsiteX1" fmla="*/ 5849513 w 5890491"/>
                <a:gd name="connsiteY1" fmla="*/ 841730 h 6578439"/>
                <a:gd name="connsiteX2" fmla="*/ 5890491 w 5890491"/>
                <a:gd name="connsiteY2" fmla="*/ 879061 h 6578439"/>
                <a:gd name="connsiteX3" fmla="*/ 5890491 w 5890491"/>
                <a:gd name="connsiteY3" fmla="*/ 2034114 h 6578439"/>
                <a:gd name="connsiteX4" fmla="*/ 5757065 w 5890491"/>
                <a:gd name="connsiteY4" fmla="*/ 1854938 h 6578439"/>
                <a:gd name="connsiteX5" fmla="*/ 5564060 w 5890491"/>
                <a:gd name="connsiteY5" fmla="*/ 1642182 h 6578439"/>
                <a:gd name="connsiteX6" fmla="*/ 3517551 w 5890491"/>
                <a:gd name="connsiteY6" fmla="*/ 790012 h 6578439"/>
                <a:gd name="connsiteX7" fmla="*/ 1611552 w 5890491"/>
                <a:gd name="connsiteY7" fmla="*/ 1543282 h 6578439"/>
                <a:gd name="connsiteX8" fmla="*/ 1340656 w 5890491"/>
                <a:gd name="connsiteY8" fmla="*/ 1897925 h 6578439"/>
                <a:gd name="connsiteX9" fmla="*/ 1201705 w 5890491"/>
                <a:gd name="connsiteY9" fmla="*/ 2361213 h 6578439"/>
                <a:gd name="connsiteX10" fmla="*/ 852705 w 5890491"/>
                <a:gd name="connsiteY10" fmla="*/ 3529176 h 6578439"/>
                <a:gd name="connsiteX11" fmla="*/ 863863 w 5890491"/>
                <a:gd name="connsiteY11" fmla="*/ 4437051 h 6578439"/>
                <a:gd name="connsiteX12" fmla="*/ 1413569 w 5890491"/>
                <a:gd name="connsiteY12" fmla="*/ 5357174 h 6578439"/>
                <a:gd name="connsiteX13" fmla="*/ 2339129 w 5890491"/>
                <a:gd name="connsiteY13" fmla="*/ 6143367 h 6578439"/>
                <a:gd name="connsiteX14" fmla="*/ 3439449 w 5890491"/>
                <a:gd name="connsiteY14" fmla="*/ 6420049 h 6578439"/>
                <a:gd name="connsiteX15" fmla="*/ 5251388 w 5890491"/>
                <a:gd name="connsiteY15" fmla="*/ 5349009 h 6578439"/>
                <a:gd name="connsiteX16" fmla="*/ 5657731 w 5890491"/>
                <a:gd name="connsiteY16" fmla="*/ 4959205 h 6578439"/>
                <a:gd name="connsiteX17" fmla="*/ 5836127 w 5890491"/>
                <a:gd name="connsiteY17" fmla="*/ 4792052 h 6578439"/>
                <a:gd name="connsiteX18" fmla="*/ 5890491 w 5890491"/>
                <a:gd name="connsiteY18" fmla="*/ 4738662 h 6578439"/>
                <a:gd name="connsiteX19" fmla="*/ 5890491 w 5890491"/>
                <a:gd name="connsiteY19" fmla="*/ 5821964 h 6578439"/>
                <a:gd name="connsiteX20" fmla="*/ 5802001 w 5890491"/>
                <a:gd name="connsiteY20" fmla="*/ 5907904 h 6578439"/>
                <a:gd name="connsiteX21" fmla="*/ 5294358 w 5890491"/>
                <a:gd name="connsiteY21" fmla="*/ 6397505 h 6578439"/>
                <a:gd name="connsiteX22" fmla="*/ 5077178 w 5890491"/>
                <a:gd name="connsiteY22" fmla="*/ 6578439 h 6578439"/>
                <a:gd name="connsiteX23" fmla="*/ 1567290 w 5890491"/>
                <a:gd name="connsiteY23" fmla="*/ 6578439 h 6578439"/>
                <a:gd name="connsiteX24" fmla="*/ 1508588 w 5890491"/>
                <a:gd name="connsiteY24" fmla="*/ 6535186 h 6578439"/>
                <a:gd name="connsiteX25" fmla="*/ 826498 w 5890491"/>
                <a:gd name="connsiteY25" fmla="*/ 5876034 h 6578439"/>
                <a:gd name="connsiteX26" fmla="*/ 122403 w 5890491"/>
                <a:gd name="connsiteY26" fmla="*/ 3255655 h 6578439"/>
                <a:gd name="connsiteX27" fmla="*/ 1061197 w 5890491"/>
                <a:gd name="connsiteY27" fmla="*/ 984650 h 6578439"/>
                <a:gd name="connsiteX28" fmla="*/ 3517682 w 5890491"/>
                <a:gd name="connsiteY28" fmla="*/ 0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90491" h="6578439">
                  <a:moveTo>
                    <a:pt x="3517682" y="0"/>
                  </a:moveTo>
                  <a:cubicBezTo>
                    <a:pt x="4402017" y="0"/>
                    <a:pt x="5213742" y="315483"/>
                    <a:pt x="5849513" y="841730"/>
                  </a:cubicBezTo>
                  <a:lnTo>
                    <a:pt x="5890491" y="879061"/>
                  </a:lnTo>
                  <a:lnTo>
                    <a:pt x="5890491" y="2034114"/>
                  </a:lnTo>
                  <a:lnTo>
                    <a:pt x="5757065" y="1854938"/>
                  </a:lnTo>
                  <a:cubicBezTo>
                    <a:pt x="5696443" y="1781264"/>
                    <a:pt x="5632076" y="1710299"/>
                    <a:pt x="5564060" y="1642182"/>
                  </a:cubicBezTo>
                  <a:cubicBezTo>
                    <a:pt x="5015393" y="1092636"/>
                    <a:pt x="4288592" y="790012"/>
                    <a:pt x="3517551" y="790012"/>
                  </a:cubicBezTo>
                  <a:cubicBezTo>
                    <a:pt x="2701750" y="790012"/>
                    <a:pt x="2131676" y="1015335"/>
                    <a:pt x="1611552" y="1543282"/>
                  </a:cubicBezTo>
                  <a:cubicBezTo>
                    <a:pt x="1435754" y="1721722"/>
                    <a:pt x="1375945" y="1822729"/>
                    <a:pt x="1340656" y="1897925"/>
                  </a:cubicBezTo>
                  <a:cubicBezTo>
                    <a:pt x="1289148" y="2007623"/>
                    <a:pt x="1252432" y="2155907"/>
                    <a:pt x="1201705" y="2361213"/>
                  </a:cubicBezTo>
                  <a:cubicBezTo>
                    <a:pt x="1133721" y="2635919"/>
                    <a:pt x="1040568" y="3012290"/>
                    <a:pt x="852705" y="3529176"/>
                  </a:cubicBezTo>
                  <a:cubicBezTo>
                    <a:pt x="749952" y="3811784"/>
                    <a:pt x="753584" y="4108747"/>
                    <a:pt x="863863" y="4437051"/>
                  </a:cubicBezTo>
                  <a:cubicBezTo>
                    <a:pt x="964800" y="4737438"/>
                    <a:pt x="1154869" y="5055603"/>
                    <a:pt x="1413569" y="5357174"/>
                  </a:cubicBezTo>
                  <a:cubicBezTo>
                    <a:pt x="1718326" y="5712343"/>
                    <a:pt x="2021008" y="5969404"/>
                    <a:pt x="2339129" y="6143367"/>
                  </a:cubicBezTo>
                  <a:cubicBezTo>
                    <a:pt x="2679565" y="6329577"/>
                    <a:pt x="3039591" y="6420049"/>
                    <a:pt x="3439449" y="6420049"/>
                  </a:cubicBezTo>
                  <a:cubicBezTo>
                    <a:pt x="4142246" y="6420049"/>
                    <a:pt x="4633828" y="5976251"/>
                    <a:pt x="5251388" y="5349009"/>
                  </a:cubicBezTo>
                  <a:cubicBezTo>
                    <a:pt x="5389949" y="5208364"/>
                    <a:pt x="5526047" y="5081677"/>
                    <a:pt x="5657731" y="4959205"/>
                  </a:cubicBezTo>
                  <a:cubicBezTo>
                    <a:pt x="5719520" y="4901722"/>
                    <a:pt x="5779200" y="4846206"/>
                    <a:pt x="5836127" y="4792052"/>
                  </a:cubicBezTo>
                  <a:lnTo>
                    <a:pt x="5890491" y="4738662"/>
                  </a:lnTo>
                  <a:lnTo>
                    <a:pt x="5890491" y="5821964"/>
                  </a:lnTo>
                  <a:lnTo>
                    <a:pt x="5802001" y="5907904"/>
                  </a:lnTo>
                  <a:cubicBezTo>
                    <a:pt x="5634962" y="6077456"/>
                    <a:pt x="5467509" y="6243625"/>
                    <a:pt x="5294358" y="6397505"/>
                  </a:cubicBezTo>
                  <a:lnTo>
                    <a:pt x="5077178" y="6578439"/>
                  </a:lnTo>
                  <a:lnTo>
                    <a:pt x="1567290" y="6578439"/>
                  </a:lnTo>
                  <a:lnTo>
                    <a:pt x="1508588" y="6535186"/>
                  </a:lnTo>
                  <a:cubicBezTo>
                    <a:pt x="1263991" y="6345442"/>
                    <a:pt x="1038054" y="6122666"/>
                    <a:pt x="826498" y="5876034"/>
                  </a:cubicBezTo>
                  <a:cubicBezTo>
                    <a:pt x="261613" y="5217713"/>
                    <a:pt x="-239182" y="4250314"/>
                    <a:pt x="122403" y="3255655"/>
                  </a:cubicBezTo>
                  <a:cubicBezTo>
                    <a:pt x="607497" y="1921629"/>
                    <a:pt x="393040" y="1662857"/>
                    <a:pt x="1061197" y="984650"/>
                  </a:cubicBezTo>
                  <a:cubicBezTo>
                    <a:pt x="1729484" y="306444"/>
                    <a:pt x="2498060" y="0"/>
                    <a:pt x="3517682"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33B89F41-1D91-447A-88C5-8A917809FEE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96000" y="52997"/>
              <a:ext cx="6093362" cy="6805004"/>
            </a:xfrm>
            <a:custGeom>
              <a:avLst/>
              <a:gdLst>
                <a:gd name="connsiteX0" fmla="*/ 5890490 w 5890490"/>
                <a:gd name="connsiteY0" fmla="*/ 5389037 h 6578439"/>
                <a:gd name="connsiteX1" fmla="*/ 5890490 w 5890490"/>
                <a:gd name="connsiteY1" fmla="*/ 5855587 h 6578439"/>
                <a:gd name="connsiteX2" fmla="*/ 5784593 w 5890490"/>
                <a:gd name="connsiteY2" fmla="*/ 5962054 h 6578439"/>
                <a:gd name="connsiteX3" fmla="*/ 5663414 w 5890490"/>
                <a:gd name="connsiteY3" fmla="*/ 6082564 h 6578439"/>
                <a:gd name="connsiteX4" fmla="*/ 5147099 w 5890490"/>
                <a:gd name="connsiteY4" fmla="*/ 6547726 h 6578439"/>
                <a:gd name="connsiteX5" fmla="*/ 5105015 w 5890490"/>
                <a:gd name="connsiteY5" fmla="*/ 6578439 h 6578439"/>
                <a:gd name="connsiteX6" fmla="*/ 4385601 w 5890490"/>
                <a:gd name="connsiteY6" fmla="*/ 6578439 h 6578439"/>
                <a:gd name="connsiteX7" fmla="*/ 4507252 w 5890490"/>
                <a:gd name="connsiteY7" fmla="*/ 6515968 h 6578439"/>
                <a:gd name="connsiteX8" fmla="*/ 4909330 w 5890490"/>
                <a:gd name="connsiteY8" fmla="*/ 6253453 h 6578439"/>
                <a:gd name="connsiteX9" fmla="*/ 5411374 w 5890490"/>
                <a:gd name="connsiteY9" fmla="*/ 5828544 h 6578439"/>
                <a:gd name="connsiteX10" fmla="*/ 5533570 w 5890490"/>
                <a:gd name="connsiteY10" fmla="*/ 5714534 h 6578439"/>
                <a:gd name="connsiteX11" fmla="*/ 5657425 w 5890490"/>
                <a:gd name="connsiteY11" fmla="*/ 5597650 h 6578439"/>
                <a:gd name="connsiteX12" fmla="*/ 3336813 w 5890490"/>
                <a:gd name="connsiteY12" fmla="*/ 499 h 6578439"/>
                <a:gd name="connsiteX13" fmla="*/ 3513674 w 5890490"/>
                <a:gd name="connsiteY13" fmla="*/ 1202 h 6578439"/>
                <a:gd name="connsiteX14" fmla="*/ 3602743 w 5890490"/>
                <a:gd name="connsiteY14" fmla="*/ 4827 h 6578439"/>
                <a:gd name="connsiteX15" fmla="*/ 3647213 w 5890490"/>
                <a:gd name="connsiteY15" fmla="*/ 6703 h 6578439"/>
                <a:gd name="connsiteX16" fmla="*/ 3691684 w 5890490"/>
                <a:gd name="connsiteY16" fmla="*/ 9453 h 6578439"/>
                <a:gd name="connsiteX17" fmla="*/ 3868927 w 5890490"/>
                <a:gd name="connsiteY17" fmla="*/ 27080 h 6578439"/>
                <a:gd name="connsiteX18" fmla="*/ 5200872 w 5890490"/>
                <a:gd name="connsiteY18" fmla="*/ 472240 h 6578439"/>
                <a:gd name="connsiteX19" fmla="*/ 5772711 w 5890490"/>
                <a:gd name="connsiteY19" fmla="*/ 866334 h 6578439"/>
                <a:gd name="connsiteX20" fmla="*/ 5890490 w 5890490"/>
                <a:gd name="connsiteY20" fmla="*/ 972426 h 6578439"/>
                <a:gd name="connsiteX21" fmla="*/ 5890490 w 5890490"/>
                <a:gd name="connsiteY21" fmla="*/ 1158576 h 6578439"/>
                <a:gd name="connsiteX22" fmla="*/ 5676045 w 5890490"/>
                <a:gd name="connsiteY22" fmla="*/ 986969 h 6578439"/>
                <a:gd name="connsiteX23" fmla="*/ 5103776 w 5890490"/>
                <a:gd name="connsiteY23" fmla="*/ 655879 h 6578439"/>
                <a:gd name="connsiteX24" fmla="*/ 4482465 w 5890490"/>
                <a:gd name="connsiteY24" fmla="*/ 440363 h 6578439"/>
                <a:gd name="connsiteX25" fmla="*/ 4402444 w 5890490"/>
                <a:gd name="connsiteY25" fmla="*/ 422111 h 6578439"/>
                <a:gd name="connsiteX26" fmla="*/ 4322423 w 5890490"/>
                <a:gd name="connsiteY26" fmla="*/ 404610 h 6578439"/>
                <a:gd name="connsiteX27" fmla="*/ 4241892 w 5890490"/>
                <a:gd name="connsiteY27" fmla="*/ 389858 h 6578439"/>
                <a:gd name="connsiteX28" fmla="*/ 4201627 w 5890490"/>
                <a:gd name="connsiteY28" fmla="*/ 382483 h 6578439"/>
                <a:gd name="connsiteX29" fmla="*/ 4161234 w 5890490"/>
                <a:gd name="connsiteY29" fmla="*/ 375857 h 6578439"/>
                <a:gd name="connsiteX30" fmla="*/ 3999280 w 5890490"/>
                <a:gd name="connsiteY30" fmla="*/ 353606 h 6578439"/>
                <a:gd name="connsiteX31" fmla="*/ 3836817 w 5890490"/>
                <a:gd name="connsiteY31" fmla="*/ 338480 h 6578439"/>
                <a:gd name="connsiteX32" fmla="*/ 3673972 w 5890490"/>
                <a:gd name="connsiteY32" fmla="*/ 330604 h 6578439"/>
                <a:gd name="connsiteX33" fmla="*/ 3511126 w 5890490"/>
                <a:gd name="connsiteY33" fmla="*/ 328978 h 6578439"/>
                <a:gd name="connsiteX34" fmla="*/ 3183142 w 5890490"/>
                <a:gd name="connsiteY34" fmla="*/ 342854 h 6578439"/>
                <a:gd name="connsiteX35" fmla="*/ 2541444 w 5890490"/>
                <a:gd name="connsiteY35" fmla="*/ 439988 h 6578439"/>
                <a:gd name="connsiteX36" fmla="*/ 1933895 w 5890490"/>
                <a:gd name="connsiteY36" fmla="*/ 650505 h 6578439"/>
                <a:gd name="connsiteX37" fmla="*/ 1378079 w 5890490"/>
                <a:gd name="connsiteY37" fmla="*/ 983905 h 6578439"/>
                <a:gd name="connsiteX38" fmla="*/ 1312967 w 5890490"/>
                <a:gd name="connsiteY38" fmla="*/ 1033660 h 6578439"/>
                <a:gd name="connsiteX39" fmla="*/ 1248364 w 5890490"/>
                <a:gd name="connsiteY39" fmla="*/ 1084413 h 6578439"/>
                <a:gd name="connsiteX40" fmla="*/ 1185163 w 5890490"/>
                <a:gd name="connsiteY40" fmla="*/ 1137168 h 6578439"/>
                <a:gd name="connsiteX41" fmla="*/ 1122852 w 5890490"/>
                <a:gd name="connsiteY41" fmla="*/ 1190922 h 6578439"/>
                <a:gd name="connsiteX42" fmla="*/ 892092 w 5890490"/>
                <a:gd name="connsiteY42" fmla="*/ 1421440 h 6578439"/>
                <a:gd name="connsiteX43" fmla="*/ 707202 w 5890490"/>
                <a:gd name="connsiteY43" fmla="*/ 1684212 h 6578439"/>
                <a:gd name="connsiteX44" fmla="*/ 670121 w 5890490"/>
                <a:gd name="connsiteY44" fmla="*/ 1756093 h 6578439"/>
                <a:gd name="connsiteX45" fmla="*/ 637630 w 5890490"/>
                <a:gd name="connsiteY45" fmla="*/ 1830724 h 6578439"/>
                <a:gd name="connsiteX46" fmla="*/ 607685 w 5890490"/>
                <a:gd name="connsiteY46" fmla="*/ 1907105 h 6578439"/>
                <a:gd name="connsiteX47" fmla="*/ 580034 w 5890490"/>
                <a:gd name="connsiteY47" fmla="*/ 1984986 h 6578439"/>
                <a:gd name="connsiteX48" fmla="*/ 481919 w 5890490"/>
                <a:gd name="connsiteY48" fmla="*/ 2304386 h 6578439"/>
                <a:gd name="connsiteX49" fmla="*/ 433881 w 5890490"/>
                <a:gd name="connsiteY49" fmla="*/ 2465399 h 6578439"/>
                <a:gd name="connsiteX50" fmla="*/ 384442 w 5890490"/>
                <a:gd name="connsiteY50" fmla="*/ 2626163 h 6578439"/>
                <a:gd name="connsiteX51" fmla="*/ 166039 w 5890490"/>
                <a:gd name="connsiteY51" fmla="*/ 3261338 h 6578439"/>
                <a:gd name="connsiteX52" fmla="*/ 56202 w 5890490"/>
                <a:gd name="connsiteY52" fmla="*/ 3910265 h 6578439"/>
                <a:gd name="connsiteX53" fmla="*/ 93664 w 5890490"/>
                <a:gd name="connsiteY53" fmla="*/ 4237292 h 6578439"/>
                <a:gd name="connsiteX54" fmla="*/ 111758 w 5890490"/>
                <a:gd name="connsiteY54" fmla="*/ 4317548 h 6578439"/>
                <a:gd name="connsiteX55" fmla="*/ 133038 w 5890490"/>
                <a:gd name="connsiteY55" fmla="*/ 4397054 h 6578439"/>
                <a:gd name="connsiteX56" fmla="*/ 157757 w 5890490"/>
                <a:gd name="connsiteY56" fmla="*/ 4475560 h 6578439"/>
                <a:gd name="connsiteX57" fmla="*/ 185153 w 5890490"/>
                <a:gd name="connsiteY57" fmla="*/ 4553066 h 6578439"/>
                <a:gd name="connsiteX58" fmla="*/ 493642 w 5890490"/>
                <a:gd name="connsiteY58" fmla="*/ 5132239 h 6578439"/>
                <a:gd name="connsiteX59" fmla="*/ 914391 w 5890490"/>
                <a:gd name="connsiteY59" fmla="*/ 5636528 h 6578439"/>
                <a:gd name="connsiteX60" fmla="*/ 1402034 w 5890490"/>
                <a:gd name="connsiteY60" fmla="*/ 6076188 h 6578439"/>
                <a:gd name="connsiteX61" fmla="*/ 1664397 w 5890490"/>
                <a:gd name="connsiteY61" fmla="*/ 6267079 h 6578439"/>
                <a:gd name="connsiteX62" fmla="*/ 1938992 w 5890490"/>
                <a:gd name="connsiteY62" fmla="*/ 6434343 h 6578439"/>
                <a:gd name="connsiteX63" fmla="*/ 2225931 w 5890490"/>
                <a:gd name="connsiteY63" fmla="*/ 6574322 h 6578439"/>
                <a:gd name="connsiteX64" fmla="*/ 2236328 w 5890490"/>
                <a:gd name="connsiteY64" fmla="*/ 6578439 h 6578439"/>
                <a:gd name="connsiteX65" fmla="*/ 1504665 w 5890490"/>
                <a:gd name="connsiteY65" fmla="*/ 6578439 h 6578439"/>
                <a:gd name="connsiteX66" fmla="*/ 1456827 w 5890490"/>
                <a:gd name="connsiteY66" fmla="*/ 6543476 h 6578439"/>
                <a:gd name="connsiteX67" fmla="*/ 1188475 w 5890490"/>
                <a:gd name="connsiteY67" fmla="*/ 6314083 h 6578439"/>
                <a:gd name="connsiteX68" fmla="*/ 721728 w 5890490"/>
                <a:gd name="connsiteY68" fmla="*/ 5798666 h 6578439"/>
                <a:gd name="connsiteX69" fmla="*/ 344175 w 5890490"/>
                <a:gd name="connsiteY69" fmla="*/ 5219495 h 6578439"/>
                <a:gd name="connsiteX70" fmla="*/ 87293 w 5890490"/>
                <a:gd name="connsiteY70" fmla="*/ 4583569 h 6578439"/>
                <a:gd name="connsiteX71" fmla="*/ 65886 w 5890490"/>
                <a:gd name="connsiteY71" fmla="*/ 4500813 h 6578439"/>
                <a:gd name="connsiteX72" fmla="*/ 47409 w 5890490"/>
                <a:gd name="connsiteY72" fmla="*/ 4417431 h 6578439"/>
                <a:gd name="connsiteX73" fmla="*/ 39000 w 5890490"/>
                <a:gd name="connsiteY73" fmla="*/ 4375677 h 6578439"/>
                <a:gd name="connsiteX74" fmla="*/ 31610 w 5890490"/>
                <a:gd name="connsiteY74" fmla="*/ 4333674 h 6578439"/>
                <a:gd name="connsiteX75" fmla="*/ 18868 w 5890490"/>
                <a:gd name="connsiteY75" fmla="*/ 4249417 h 6578439"/>
                <a:gd name="connsiteX76" fmla="*/ 646 w 5890490"/>
                <a:gd name="connsiteY76" fmla="*/ 3910265 h 6578439"/>
                <a:gd name="connsiteX77" fmla="*/ 130234 w 5890490"/>
                <a:gd name="connsiteY77" fmla="*/ 3248337 h 6578439"/>
                <a:gd name="connsiteX78" fmla="*/ 335383 w 5890490"/>
                <a:gd name="connsiteY78" fmla="*/ 2611911 h 6578439"/>
                <a:gd name="connsiteX79" fmla="*/ 487272 w 5890490"/>
                <a:gd name="connsiteY79" fmla="*/ 1958609 h 6578439"/>
                <a:gd name="connsiteX80" fmla="*/ 508550 w 5890490"/>
                <a:gd name="connsiteY80" fmla="*/ 1876227 h 6578439"/>
                <a:gd name="connsiteX81" fmla="*/ 531742 w 5890490"/>
                <a:gd name="connsiteY81" fmla="*/ 1793721 h 6578439"/>
                <a:gd name="connsiteX82" fmla="*/ 558245 w 5890490"/>
                <a:gd name="connsiteY82" fmla="*/ 1711465 h 6578439"/>
                <a:gd name="connsiteX83" fmla="*/ 590100 w 5890490"/>
                <a:gd name="connsiteY83" fmla="*/ 1630332 h 6578439"/>
                <a:gd name="connsiteX84" fmla="*/ 758680 w 5890490"/>
                <a:gd name="connsiteY84" fmla="*/ 1322433 h 6578439"/>
                <a:gd name="connsiteX85" fmla="*/ 976317 w 5890490"/>
                <a:gd name="connsiteY85" fmla="*/ 1049286 h 6578439"/>
                <a:gd name="connsiteX86" fmla="*/ 1035314 w 5890490"/>
                <a:gd name="connsiteY86" fmla="*/ 985406 h 6578439"/>
                <a:gd name="connsiteX87" fmla="*/ 1095329 w 5890490"/>
                <a:gd name="connsiteY87" fmla="*/ 922526 h 6578439"/>
                <a:gd name="connsiteX88" fmla="*/ 1157384 w 5890490"/>
                <a:gd name="connsiteY88" fmla="*/ 861271 h 6578439"/>
                <a:gd name="connsiteX89" fmla="*/ 1220841 w 5890490"/>
                <a:gd name="connsiteY89" fmla="*/ 801017 h 6578439"/>
                <a:gd name="connsiteX90" fmla="*/ 1286462 w 5890490"/>
                <a:gd name="connsiteY90" fmla="*/ 742886 h 6578439"/>
                <a:gd name="connsiteX91" fmla="*/ 1353233 w 5890490"/>
                <a:gd name="connsiteY91" fmla="*/ 685632 h 6578439"/>
                <a:gd name="connsiteX92" fmla="*/ 1369924 w 5890490"/>
                <a:gd name="connsiteY92" fmla="*/ 671256 h 6578439"/>
                <a:gd name="connsiteX93" fmla="*/ 1387380 w 5890490"/>
                <a:gd name="connsiteY93" fmla="*/ 657755 h 6578439"/>
                <a:gd name="connsiteX94" fmla="*/ 1422422 w 5890490"/>
                <a:gd name="connsiteY94" fmla="*/ 630877 h 6578439"/>
                <a:gd name="connsiteX95" fmla="*/ 1492759 w 5890490"/>
                <a:gd name="connsiteY95" fmla="*/ 577248 h 6578439"/>
                <a:gd name="connsiteX96" fmla="*/ 1528820 w 5890490"/>
                <a:gd name="connsiteY96" fmla="*/ 551496 h 6578439"/>
                <a:gd name="connsiteX97" fmla="*/ 1565390 w 5890490"/>
                <a:gd name="connsiteY97" fmla="*/ 526370 h 6578439"/>
                <a:gd name="connsiteX98" fmla="*/ 1639040 w 5890490"/>
                <a:gd name="connsiteY98" fmla="*/ 476490 h 6578439"/>
                <a:gd name="connsiteX99" fmla="*/ 1792075 w 5890490"/>
                <a:gd name="connsiteY99" fmla="*/ 384859 h 6578439"/>
                <a:gd name="connsiteX100" fmla="*/ 2455943 w 5890490"/>
                <a:gd name="connsiteY100" fmla="*/ 117836 h 6578439"/>
                <a:gd name="connsiteX101" fmla="*/ 3159952 w 5890490"/>
                <a:gd name="connsiteY101" fmla="*/ 7203 h 6578439"/>
                <a:gd name="connsiteX102" fmla="*/ 3336813 w 5890490"/>
                <a:gd name="connsiteY102" fmla="*/ 499 h 65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5890490" h="6578439">
                  <a:moveTo>
                    <a:pt x="5890490" y="5389037"/>
                  </a:moveTo>
                  <a:lnTo>
                    <a:pt x="5890490" y="5855587"/>
                  </a:lnTo>
                  <a:lnTo>
                    <a:pt x="5784593" y="5962054"/>
                  </a:lnTo>
                  <a:cubicBezTo>
                    <a:pt x="5744454" y="6002308"/>
                    <a:pt x="5704062" y="6042436"/>
                    <a:pt x="5663414" y="6082564"/>
                  </a:cubicBezTo>
                  <a:cubicBezTo>
                    <a:pt x="5500314" y="6242577"/>
                    <a:pt x="5330970" y="6400714"/>
                    <a:pt x="5147099" y="6547726"/>
                  </a:cubicBezTo>
                  <a:lnTo>
                    <a:pt x="5105015" y="6578439"/>
                  </a:lnTo>
                  <a:lnTo>
                    <a:pt x="4385601" y="6578439"/>
                  </a:lnTo>
                  <a:lnTo>
                    <a:pt x="4507252" y="6515968"/>
                  </a:lnTo>
                  <a:cubicBezTo>
                    <a:pt x="4645901" y="6439679"/>
                    <a:pt x="4779837" y="6350961"/>
                    <a:pt x="4909330" y="6253453"/>
                  </a:cubicBezTo>
                  <a:cubicBezTo>
                    <a:pt x="5082369" y="6123567"/>
                    <a:pt x="5248145" y="5979180"/>
                    <a:pt x="5411374" y="5828544"/>
                  </a:cubicBezTo>
                  <a:cubicBezTo>
                    <a:pt x="5452149" y="5790791"/>
                    <a:pt x="5492924" y="5752788"/>
                    <a:pt x="5533570" y="5714534"/>
                  </a:cubicBezTo>
                  <a:lnTo>
                    <a:pt x="5657425" y="5597650"/>
                  </a:lnTo>
                  <a:close/>
                  <a:moveTo>
                    <a:pt x="3336813" y="499"/>
                  </a:moveTo>
                  <a:cubicBezTo>
                    <a:pt x="3395682" y="-392"/>
                    <a:pt x="3454550" y="-48"/>
                    <a:pt x="3513674" y="1202"/>
                  </a:cubicBezTo>
                  <a:lnTo>
                    <a:pt x="3602743" y="4827"/>
                  </a:lnTo>
                  <a:lnTo>
                    <a:pt x="3647213" y="6703"/>
                  </a:lnTo>
                  <a:cubicBezTo>
                    <a:pt x="3661994" y="7327"/>
                    <a:pt x="3676903" y="7703"/>
                    <a:pt x="3691684" y="9453"/>
                  </a:cubicBezTo>
                  <a:lnTo>
                    <a:pt x="3868927" y="27080"/>
                  </a:lnTo>
                  <a:cubicBezTo>
                    <a:pt x="4340645" y="85584"/>
                    <a:pt x="4795160" y="243221"/>
                    <a:pt x="5200872" y="472240"/>
                  </a:cubicBezTo>
                  <a:cubicBezTo>
                    <a:pt x="5403855" y="587124"/>
                    <a:pt x="5594988" y="719447"/>
                    <a:pt x="5772711" y="866334"/>
                  </a:cubicBezTo>
                  <a:lnTo>
                    <a:pt x="5890490" y="972426"/>
                  </a:lnTo>
                  <a:lnTo>
                    <a:pt x="5890490" y="1158576"/>
                  </a:lnTo>
                  <a:lnTo>
                    <a:pt x="5676045" y="986969"/>
                  </a:lnTo>
                  <a:cubicBezTo>
                    <a:pt x="5496587" y="857740"/>
                    <a:pt x="5304275" y="746699"/>
                    <a:pt x="5103776" y="655879"/>
                  </a:cubicBezTo>
                  <a:cubicBezTo>
                    <a:pt x="4903214" y="564747"/>
                    <a:pt x="4695006" y="492492"/>
                    <a:pt x="4482465" y="440363"/>
                  </a:cubicBezTo>
                  <a:lnTo>
                    <a:pt x="4402444" y="422111"/>
                  </a:lnTo>
                  <a:cubicBezTo>
                    <a:pt x="4375813" y="416111"/>
                    <a:pt x="4349436" y="408859"/>
                    <a:pt x="4322423" y="404610"/>
                  </a:cubicBezTo>
                  <a:lnTo>
                    <a:pt x="4241892" y="389858"/>
                  </a:lnTo>
                  <a:lnTo>
                    <a:pt x="4201627" y="382483"/>
                  </a:lnTo>
                  <a:cubicBezTo>
                    <a:pt x="4188248" y="379983"/>
                    <a:pt x="4174869" y="377483"/>
                    <a:pt x="4161234" y="375857"/>
                  </a:cubicBezTo>
                  <a:cubicBezTo>
                    <a:pt x="4107208" y="368482"/>
                    <a:pt x="4053308" y="360482"/>
                    <a:pt x="3999280" y="353606"/>
                  </a:cubicBezTo>
                  <a:cubicBezTo>
                    <a:pt x="3944999" y="348855"/>
                    <a:pt x="3890844" y="343854"/>
                    <a:pt x="3836817" y="338480"/>
                  </a:cubicBezTo>
                  <a:lnTo>
                    <a:pt x="3673972" y="330604"/>
                  </a:lnTo>
                  <a:cubicBezTo>
                    <a:pt x="3619690" y="329104"/>
                    <a:pt x="3565281" y="329604"/>
                    <a:pt x="3511126" y="328978"/>
                  </a:cubicBezTo>
                  <a:cubicBezTo>
                    <a:pt x="3402054" y="330728"/>
                    <a:pt x="3291706" y="334604"/>
                    <a:pt x="3183142" y="342854"/>
                  </a:cubicBezTo>
                  <a:cubicBezTo>
                    <a:pt x="2965505" y="358855"/>
                    <a:pt x="2750670" y="389733"/>
                    <a:pt x="2541444" y="439988"/>
                  </a:cubicBezTo>
                  <a:cubicBezTo>
                    <a:pt x="2332216" y="490117"/>
                    <a:pt x="2128850" y="559997"/>
                    <a:pt x="1933895" y="650505"/>
                  </a:cubicBezTo>
                  <a:cubicBezTo>
                    <a:pt x="1738939" y="741261"/>
                    <a:pt x="1553540" y="854146"/>
                    <a:pt x="1378079" y="983905"/>
                  </a:cubicBezTo>
                  <a:lnTo>
                    <a:pt x="1312967" y="1033660"/>
                  </a:lnTo>
                  <a:cubicBezTo>
                    <a:pt x="1291178" y="1050286"/>
                    <a:pt x="1269006" y="1066412"/>
                    <a:pt x="1248364" y="1084413"/>
                  </a:cubicBezTo>
                  <a:lnTo>
                    <a:pt x="1185163" y="1137168"/>
                  </a:lnTo>
                  <a:cubicBezTo>
                    <a:pt x="1164138" y="1154794"/>
                    <a:pt x="1142603" y="1172046"/>
                    <a:pt x="1122852" y="1190922"/>
                  </a:cubicBezTo>
                  <a:cubicBezTo>
                    <a:pt x="1041557" y="1264303"/>
                    <a:pt x="961663" y="1339309"/>
                    <a:pt x="892092" y="1421440"/>
                  </a:cubicBezTo>
                  <a:cubicBezTo>
                    <a:pt x="819589" y="1501822"/>
                    <a:pt x="759827" y="1590329"/>
                    <a:pt x="707202" y="1684212"/>
                  </a:cubicBezTo>
                  <a:cubicBezTo>
                    <a:pt x="694715" y="1708089"/>
                    <a:pt x="682227" y="1731841"/>
                    <a:pt x="670121" y="1756093"/>
                  </a:cubicBezTo>
                  <a:lnTo>
                    <a:pt x="637630" y="1830724"/>
                  </a:lnTo>
                  <a:cubicBezTo>
                    <a:pt x="626161" y="1855350"/>
                    <a:pt x="617624" y="1881603"/>
                    <a:pt x="607685" y="1907105"/>
                  </a:cubicBezTo>
                  <a:cubicBezTo>
                    <a:pt x="598128" y="1932857"/>
                    <a:pt x="588317" y="1958483"/>
                    <a:pt x="580034" y="1984986"/>
                  </a:cubicBezTo>
                  <a:cubicBezTo>
                    <a:pt x="544611" y="2089620"/>
                    <a:pt x="513393" y="2197128"/>
                    <a:pt x="481919" y="2304386"/>
                  </a:cubicBezTo>
                  <a:lnTo>
                    <a:pt x="433881" y="2465399"/>
                  </a:lnTo>
                  <a:lnTo>
                    <a:pt x="384442" y="2626163"/>
                  </a:lnTo>
                  <a:cubicBezTo>
                    <a:pt x="317672" y="2839680"/>
                    <a:pt x="243129" y="3050946"/>
                    <a:pt x="166039" y="3261338"/>
                  </a:cubicBezTo>
                  <a:cubicBezTo>
                    <a:pt x="88822" y="3468979"/>
                    <a:pt x="50850" y="3690248"/>
                    <a:pt x="56202" y="3910265"/>
                  </a:cubicBezTo>
                  <a:cubicBezTo>
                    <a:pt x="58495" y="4020274"/>
                    <a:pt x="71493" y="4129783"/>
                    <a:pt x="93664" y="4237292"/>
                  </a:cubicBezTo>
                  <a:cubicBezTo>
                    <a:pt x="99143" y="4264168"/>
                    <a:pt x="104623" y="4291045"/>
                    <a:pt x="111758" y="4317548"/>
                  </a:cubicBezTo>
                  <a:cubicBezTo>
                    <a:pt x="118384" y="4344176"/>
                    <a:pt x="124627" y="4370802"/>
                    <a:pt x="133038" y="4397054"/>
                  </a:cubicBezTo>
                  <a:cubicBezTo>
                    <a:pt x="140810" y="4423307"/>
                    <a:pt x="148456" y="4449683"/>
                    <a:pt x="157757" y="4475560"/>
                  </a:cubicBezTo>
                  <a:cubicBezTo>
                    <a:pt x="166549" y="4501562"/>
                    <a:pt x="175087" y="4527564"/>
                    <a:pt x="185153" y="4553066"/>
                  </a:cubicBezTo>
                  <a:cubicBezTo>
                    <a:pt x="262371" y="4758458"/>
                    <a:pt x="368895" y="4951974"/>
                    <a:pt x="493642" y="5132239"/>
                  </a:cubicBezTo>
                  <a:cubicBezTo>
                    <a:pt x="618389" y="5312627"/>
                    <a:pt x="760846" y="5480391"/>
                    <a:pt x="914391" y="5636528"/>
                  </a:cubicBezTo>
                  <a:cubicBezTo>
                    <a:pt x="1069081" y="5793166"/>
                    <a:pt x="1231544" y="5941677"/>
                    <a:pt x="1402034" y="6076188"/>
                  </a:cubicBezTo>
                  <a:cubicBezTo>
                    <a:pt x="1487535" y="6143320"/>
                    <a:pt x="1574565" y="6207574"/>
                    <a:pt x="1664397" y="6267079"/>
                  </a:cubicBezTo>
                  <a:cubicBezTo>
                    <a:pt x="1753592" y="6327459"/>
                    <a:pt x="1845336" y="6383088"/>
                    <a:pt x="1938992" y="6434343"/>
                  </a:cubicBezTo>
                  <a:cubicBezTo>
                    <a:pt x="2032647" y="6485659"/>
                    <a:pt x="2128309" y="6532600"/>
                    <a:pt x="2225931" y="6574322"/>
                  </a:cubicBezTo>
                  <a:lnTo>
                    <a:pt x="2236328" y="6578439"/>
                  </a:lnTo>
                  <a:lnTo>
                    <a:pt x="1504665" y="6578439"/>
                  </a:lnTo>
                  <a:lnTo>
                    <a:pt x="1456827" y="6543476"/>
                  </a:lnTo>
                  <a:cubicBezTo>
                    <a:pt x="1363554" y="6470595"/>
                    <a:pt x="1273848" y="6394340"/>
                    <a:pt x="1188475" y="6314083"/>
                  </a:cubicBezTo>
                  <a:cubicBezTo>
                    <a:pt x="1017856" y="6153445"/>
                    <a:pt x="863803" y="5979931"/>
                    <a:pt x="721728" y="5798666"/>
                  </a:cubicBezTo>
                  <a:cubicBezTo>
                    <a:pt x="579397" y="5616027"/>
                    <a:pt x="452103" y="5422511"/>
                    <a:pt x="344175" y="5219495"/>
                  </a:cubicBezTo>
                  <a:cubicBezTo>
                    <a:pt x="236505" y="5016354"/>
                    <a:pt x="147946" y="4803586"/>
                    <a:pt x="87293" y="4583569"/>
                  </a:cubicBezTo>
                  <a:cubicBezTo>
                    <a:pt x="79138" y="4556193"/>
                    <a:pt x="72639" y="4528440"/>
                    <a:pt x="65886" y="4500813"/>
                  </a:cubicBezTo>
                  <a:cubicBezTo>
                    <a:pt x="58751" y="4473311"/>
                    <a:pt x="53144" y="4445308"/>
                    <a:pt x="47409" y="4417431"/>
                  </a:cubicBezTo>
                  <a:cubicBezTo>
                    <a:pt x="44733" y="4403430"/>
                    <a:pt x="41294" y="4389679"/>
                    <a:pt x="39000" y="4375677"/>
                  </a:cubicBezTo>
                  <a:lnTo>
                    <a:pt x="31610" y="4333674"/>
                  </a:lnTo>
                  <a:cubicBezTo>
                    <a:pt x="26258" y="4305797"/>
                    <a:pt x="22563" y="4277544"/>
                    <a:pt x="18868" y="4249417"/>
                  </a:cubicBezTo>
                  <a:cubicBezTo>
                    <a:pt x="4214" y="4136784"/>
                    <a:pt x="-2158" y="4023275"/>
                    <a:pt x="646" y="3910265"/>
                  </a:cubicBezTo>
                  <a:cubicBezTo>
                    <a:pt x="5997" y="3683872"/>
                    <a:pt x="50596" y="3459605"/>
                    <a:pt x="130234" y="3248337"/>
                  </a:cubicBezTo>
                  <a:cubicBezTo>
                    <a:pt x="207961" y="3039196"/>
                    <a:pt x="278044" y="2827179"/>
                    <a:pt x="335383" y="2611911"/>
                  </a:cubicBezTo>
                  <a:cubicBezTo>
                    <a:pt x="393743" y="2396644"/>
                    <a:pt x="435792" y="2178627"/>
                    <a:pt x="487272" y="1958609"/>
                  </a:cubicBezTo>
                  <a:cubicBezTo>
                    <a:pt x="493259" y="1931107"/>
                    <a:pt x="501287" y="1903730"/>
                    <a:pt x="508550" y="1876227"/>
                  </a:cubicBezTo>
                  <a:cubicBezTo>
                    <a:pt x="516195" y="1848725"/>
                    <a:pt x="522312" y="1820972"/>
                    <a:pt x="531742" y="1793721"/>
                  </a:cubicBezTo>
                  <a:lnTo>
                    <a:pt x="558245" y="1711465"/>
                  </a:lnTo>
                  <a:cubicBezTo>
                    <a:pt x="568439" y="1684337"/>
                    <a:pt x="579652" y="1657459"/>
                    <a:pt x="590100" y="1630332"/>
                  </a:cubicBezTo>
                  <a:cubicBezTo>
                    <a:pt x="635080" y="1523075"/>
                    <a:pt x="690637" y="1417566"/>
                    <a:pt x="758680" y="1322433"/>
                  </a:cubicBezTo>
                  <a:cubicBezTo>
                    <a:pt x="824430" y="1225051"/>
                    <a:pt x="899610" y="1136168"/>
                    <a:pt x="976317" y="1049286"/>
                  </a:cubicBezTo>
                  <a:cubicBezTo>
                    <a:pt x="995049" y="1027035"/>
                    <a:pt x="1015436" y="1006533"/>
                    <a:pt x="1035314" y="985406"/>
                  </a:cubicBezTo>
                  <a:lnTo>
                    <a:pt x="1095329" y="922526"/>
                  </a:lnTo>
                  <a:cubicBezTo>
                    <a:pt x="1114953" y="901149"/>
                    <a:pt x="1136359" y="881397"/>
                    <a:pt x="1157384" y="861271"/>
                  </a:cubicBezTo>
                  <a:lnTo>
                    <a:pt x="1220841" y="801017"/>
                  </a:lnTo>
                  <a:cubicBezTo>
                    <a:pt x="1241610" y="780514"/>
                    <a:pt x="1264418" y="762014"/>
                    <a:pt x="1286462" y="742886"/>
                  </a:cubicBezTo>
                  <a:lnTo>
                    <a:pt x="1353233" y="685632"/>
                  </a:lnTo>
                  <a:lnTo>
                    <a:pt x="1369924" y="671256"/>
                  </a:lnTo>
                  <a:cubicBezTo>
                    <a:pt x="1375658" y="666631"/>
                    <a:pt x="1381520" y="662255"/>
                    <a:pt x="1387380" y="657755"/>
                  </a:cubicBezTo>
                  <a:lnTo>
                    <a:pt x="1422422" y="630877"/>
                  </a:lnTo>
                  <a:lnTo>
                    <a:pt x="1492759" y="577248"/>
                  </a:lnTo>
                  <a:cubicBezTo>
                    <a:pt x="1504355" y="567997"/>
                    <a:pt x="1516714" y="559997"/>
                    <a:pt x="1528820" y="551496"/>
                  </a:cubicBezTo>
                  <a:lnTo>
                    <a:pt x="1565390" y="526370"/>
                  </a:lnTo>
                  <a:lnTo>
                    <a:pt x="1639040" y="476490"/>
                  </a:lnTo>
                  <a:cubicBezTo>
                    <a:pt x="1689754" y="445613"/>
                    <a:pt x="1740723" y="414986"/>
                    <a:pt x="1792075" y="384859"/>
                  </a:cubicBezTo>
                  <a:cubicBezTo>
                    <a:pt x="2000282" y="268724"/>
                    <a:pt x="2224927" y="179467"/>
                    <a:pt x="2455943" y="117836"/>
                  </a:cubicBezTo>
                  <a:cubicBezTo>
                    <a:pt x="2687088" y="55957"/>
                    <a:pt x="2923964" y="21204"/>
                    <a:pt x="3159952" y="7203"/>
                  </a:cubicBezTo>
                  <a:cubicBezTo>
                    <a:pt x="3219076" y="3515"/>
                    <a:pt x="3277945" y="1389"/>
                    <a:pt x="3336813" y="49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8805796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958BF-68C3-BB4C-8658-A3827F59281B}"/>
              </a:ext>
            </a:extLst>
          </p:cNvPr>
          <p:cNvSpPr>
            <a:spLocks noGrp="1"/>
          </p:cNvSpPr>
          <p:nvPr>
            <p:ph type="title"/>
          </p:nvPr>
        </p:nvSpPr>
        <p:spPr>
          <a:xfrm>
            <a:off x="338139" y="221441"/>
            <a:ext cx="13954122" cy="729614"/>
          </a:xfrm>
        </p:spPr>
        <p:txBody>
          <a:bodyPr/>
          <a:lstStyle/>
          <a:p>
            <a:r>
              <a:rPr lang="en-GH" dirty="0"/>
              <a:t>Funding gap</a:t>
            </a:r>
          </a:p>
        </p:txBody>
      </p:sp>
      <p:graphicFrame>
        <p:nvGraphicFramePr>
          <p:cNvPr id="4" name="Content Placeholder 3">
            <a:extLst>
              <a:ext uri="{FF2B5EF4-FFF2-40B4-BE49-F238E27FC236}">
                <a16:creationId xmlns:a16="http://schemas.microsoft.com/office/drawing/2014/main" id="{0126E71C-F12D-A44A-A9CA-A2D574B49B9A}"/>
              </a:ext>
            </a:extLst>
          </p:cNvPr>
          <p:cNvGraphicFramePr>
            <a:graphicFrameLocks noGrp="1"/>
          </p:cNvGraphicFramePr>
          <p:nvPr>
            <p:ph idx="1"/>
            <p:extLst>
              <p:ext uri="{D42A27DB-BD31-4B8C-83A1-F6EECF244321}">
                <p14:modId xmlns:p14="http://schemas.microsoft.com/office/powerpoint/2010/main" val="3823802331"/>
              </p:ext>
            </p:extLst>
          </p:nvPr>
        </p:nvGraphicFramePr>
        <p:xfrm>
          <a:off x="1472713" y="1780418"/>
          <a:ext cx="11553091" cy="5268764"/>
        </p:xfrm>
        <a:graphic>
          <a:graphicData uri="http://schemas.openxmlformats.org/drawingml/2006/table">
            <a:tbl>
              <a:tblPr firstRow="1" firstCol="1" bandRow="1">
                <a:tableStyleId>{5C22544A-7EE6-4342-B048-85BDC9FD1C3A}</a:tableStyleId>
              </a:tblPr>
              <a:tblGrid>
                <a:gridCol w="2303505">
                  <a:extLst>
                    <a:ext uri="{9D8B030D-6E8A-4147-A177-3AD203B41FA5}">
                      <a16:colId xmlns:a16="http://schemas.microsoft.com/office/drawing/2014/main" val="1477298317"/>
                    </a:ext>
                  </a:extLst>
                </a:gridCol>
                <a:gridCol w="3482656">
                  <a:extLst>
                    <a:ext uri="{9D8B030D-6E8A-4147-A177-3AD203B41FA5}">
                      <a16:colId xmlns:a16="http://schemas.microsoft.com/office/drawing/2014/main" val="1711494963"/>
                    </a:ext>
                  </a:extLst>
                </a:gridCol>
                <a:gridCol w="3138605">
                  <a:extLst>
                    <a:ext uri="{9D8B030D-6E8A-4147-A177-3AD203B41FA5}">
                      <a16:colId xmlns:a16="http://schemas.microsoft.com/office/drawing/2014/main" val="3913067007"/>
                    </a:ext>
                  </a:extLst>
                </a:gridCol>
                <a:gridCol w="2628325">
                  <a:extLst>
                    <a:ext uri="{9D8B030D-6E8A-4147-A177-3AD203B41FA5}">
                      <a16:colId xmlns:a16="http://schemas.microsoft.com/office/drawing/2014/main" val="1136948460"/>
                    </a:ext>
                  </a:extLst>
                </a:gridCol>
              </a:tblGrid>
              <a:tr h="1260199">
                <a:tc>
                  <a:txBody>
                    <a:bodyPr/>
                    <a:lstStyle/>
                    <a:p>
                      <a:pPr algn="just">
                        <a:lnSpc>
                          <a:spcPct val="150000"/>
                        </a:lnSpc>
                        <a:spcAft>
                          <a:spcPts val="800"/>
                        </a:spcAft>
                      </a:pPr>
                      <a:r>
                        <a:rPr lang="fr-FR" sz="2200" dirty="0">
                          <a:effectLst/>
                        </a:rPr>
                        <a:t>Interventions</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just">
                        <a:lnSpc>
                          <a:spcPct val="100000"/>
                        </a:lnSpc>
                        <a:spcAft>
                          <a:spcPts val="800"/>
                        </a:spcAft>
                      </a:pPr>
                      <a:r>
                        <a:rPr lang="fr-FR" sz="2200" dirty="0" err="1">
                          <a:effectLst/>
                        </a:rPr>
                        <a:t>Financing</a:t>
                      </a:r>
                      <a:r>
                        <a:rPr lang="fr-FR" sz="2200" dirty="0">
                          <a:effectLst/>
                        </a:rPr>
                        <a:t> requested</a:t>
                      </a:r>
                    </a:p>
                    <a:p>
                      <a:pPr algn="just">
                        <a:lnSpc>
                          <a:spcPct val="100000"/>
                        </a:lnSpc>
                        <a:spcAft>
                          <a:spcPts val="800"/>
                        </a:spcAft>
                      </a:pPr>
                      <a:r>
                        <a:rPr lang="fr-FR" sz="2200" dirty="0">
                          <a:effectLst/>
                          <a:latin typeface="Calibri" panose="020F0502020204030204" pitchFamily="34" charset="0"/>
                          <a:ea typeface="Calibri" panose="020F0502020204030204" pitchFamily="34" charset="0"/>
                          <a:cs typeface="Arial" panose="020B0604020202020204" pitchFamily="34" charset="0"/>
                        </a:rPr>
                        <a:t>(</a:t>
                      </a:r>
                      <a:r>
                        <a:rPr lang="fr-FR" sz="2200" dirty="0">
                          <a:effectLst/>
                        </a:rPr>
                        <a:t>CFA francs )</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just">
                        <a:lnSpc>
                          <a:spcPct val="100000"/>
                        </a:lnSpc>
                        <a:spcAft>
                          <a:spcPts val="800"/>
                        </a:spcAft>
                      </a:pPr>
                      <a:r>
                        <a:rPr lang="fr-FR" sz="2200" dirty="0" err="1">
                          <a:effectLst/>
                        </a:rPr>
                        <a:t>Financing</a:t>
                      </a:r>
                      <a:r>
                        <a:rPr lang="fr-FR" sz="2200" dirty="0">
                          <a:effectLst/>
                        </a:rPr>
                        <a:t> </a:t>
                      </a:r>
                      <a:r>
                        <a:rPr lang="fr-FR" sz="2200" dirty="0" err="1">
                          <a:effectLst/>
                        </a:rPr>
                        <a:t>received</a:t>
                      </a:r>
                      <a:endParaRPr lang="fr-FR" sz="2200" dirty="0">
                        <a:effectLst/>
                      </a:endParaRPr>
                    </a:p>
                    <a:p>
                      <a:pPr marL="0" marR="0" lvl="0" indent="0" algn="just" defTabSz="914400" rtl="0" eaLnBrk="1" fontAlgn="auto" latinLnBrk="0" hangingPunct="1">
                        <a:lnSpc>
                          <a:spcPct val="100000"/>
                        </a:lnSpc>
                        <a:spcBef>
                          <a:spcPts val="0"/>
                        </a:spcBef>
                        <a:spcAft>
                          <a:spcPts val="800"/>
                        </a:spcAft>
                        <a:buClrTx/>
                        <a:buSzTx/>
                        <a:buFontTx/>
                        <a:buNone/>
                        <a:tabLst/>
                        <a:defRPr/>
                      </a:pPr>
                      <a:r>
                        <a:rPr lang="fr-FR" sz="2200" dirty="0">
                          <a:effectLst/>
                          <a:latin typeface="Calibri" panose="020F0502020204030204" pitchFamily="34" charset="0"/>
                          <a:ea typeface="Calibri" panose="020F0502020204030204" pitchFamily="34" charset="0"/>
                          <a:cs typeface="Arial" panose="020B0604020202020204" pitchFamily="34" charset="0"/>
                        </a:rPr>
                        <a:t>(</a:t>
                      </a:r>
                      <a:r>
                        <a:rPr lang="fr-FR" sz="2200" dirty="0">
                          <a:effectLst/>
                        </a:rPr>
                        <a:t>CFA francs )</a:t>
                      </a:r>
                      <a:endParaRPr lang="en-GH" sz="2200" dirty="0">
                        <a:effectLst/>
                        <a:latin typeface="Calibri" panose="020F0502020204030204" pitchFamily="34" charset="0"/>
                        <a:ea typeface="Calibri" panose="020F0502020204030204" pitchFamily="34" charset="0"/>
                        <a:cs typeface="Arial" panose="020B0604020202020204" pitchFamily="34" charset="0"/>
                      </a:endParaRPr>
                    </a:p>
                    <a:p>
                      <a:pPr algn="just">
                        <a:lnSpc>
                          <a:spcPct val="100000"/>
                        </a:lnSpc>
                        <a:spcAft>
                          <a:spcPts val="800"/>
                        </a:spcAft>
                      </a:pP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Gaps</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222521291"/>
                  </a:ext>
                </a:extLst>
              </a:tr>
              <a:tr h="1434830">
                <a:tc>
                  <a:txBody>
                    <a:bodyPr/>
                    <a:lstStyle/>
                    <a:p>
                      <a:pPr algn="just">
                        <a:lnSpc>
                          <a:spcPct val="150000"/>
                        </a:lnSpc>
                        <a:spcAft>
                          <a:spcPts val="800"/>
                        </a:spcAft>
                      </a:pPr>
                      <a:r>
                        <a:rPr lang="fr-FR" sz="2200">
                          <a:effectLst/>
                        </a:rPr>
                        <a:t>SCOFI project</a:t>
                      </a:r>
                      <a:endParaRPr lang="en-GH" sz="2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49,196,775 for the first </a:t>
                      </a:r>
                      <a:r>
                        <a:rPr lang="fr-FR" sz="2200" dirty="0" err="1">
                          <a:effectLst/>
                        </a:rPr>
                        <a:t>year</a:t>
                      </a:r>
                      <a:r>
                        <a:rPr lang="fr-FR" sz="2200" dirty="0">
                          <a:effectLst/>
                        </a:rPr>
                        <a:t> 2015/2016 </a:t>
                      </a:r>
                      <a:endParaRPr lang="en-GH" sz="2200" dirty="0">
                        <a:effectLst/>
                      </a:endParaRPr>
                    </a:p>
                  </a:txBody>
                  <a:tcPr marL="68580" marR="68580" marT="0" marB="0"/>
                </a:tc>
                <a:tc>
                  <a:txBody>
                    <a:bodyPr/>
                    <a:lstStyle/>
                    <a:p>
                      <a:pPr algn="just">
                        <a:lnSpc>
                          <a:spcPct val="150000"/>
                        </a:lnSpc>
                        <a:spcAft>
                          <a:spcPts val="800"/>
                        </a:spcAft>
                      </a:pPr>
                      <a:r>
                        <a:rPr lang="fr-FR" sz="2200" dirty="0">
                          <a:effectLst/>
                        </a:rPr>
                        <a:t>46,315,555 </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2,881,220 </a:t>
                      </a:r>
                      <a:endParaRPr lang="en-GH" sz="2200" dirty="0">
                        <a:effectLst/>
                      </a:endParaRPr>
                    </a:p>
                    <a:p>
                      <a:pPr algn="l">
                        <a:lnSpc>
                          <a:spcPct val="150000"/>
                        </a:lnSpc>
                        <a:spcAft>
                          <a:spcPts val="800"/>
                        </a:spcAft>
                      </a:pPr>
                      <a:r>
                        <a:rPr lang="fr-FR" sz="2200" dirty="0">
                          <a:effectLst/>
                        </a:rPr>
                        <a:t> </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554718799"/>
                  </a:ext>
                </a:extLst>
              </a:tr>
              <a:tr h="1364198">
                <a:tc>
                  <a:txBody>
                    <a:bodyPr/>
                    <a:lstStyle/>
                    <a:p>
                      <a:pPr algn="just">
                        <a:lnSpc>
                          <a:spcPct val="150000"/>
                        </a:lnSpc>
                        <a:spcAft>
                          <a:spcPts val="800"/>
                        </a:spcAft>
                      </a:pPr>
                      <a:r>
                        <a:rPr lang="fr-FR" sz="2200">
                          <a:effectLst/>
                        </a:rPr>
                        <a:t>EVF GEEP project</a:t>
                      </a:r>
                      <a:endParaRPr lang="en-GH" sz="2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80,083,710 for 2021</a:t>
                      </a:r>
                      <a:endParaRPr lang="en-GH" sz="2200" dirty="0">
                        <a:effectLst/>
                      </a:endParaRPr>
                    </a:p>
                  </a:txBody>
                  <a:tcPr marL="68580" marR="68580" marT="0" marB="0"/>
                </a:tc>
                <a:tc>
                  <a:txBody>
                    <a:bodyPr/>
                    <a:lstStyle/>
                    <a:p>
                      <a:pPr algn="just">
                        <a:lnSpc>
                          <a:spcPct val="150000"/>
                        </a:lnSpc>
                        <a:spcAft>
                          <a:spcPts val="800"/>
                        </a:spcAft>
                      </a:pPr>
                      <a:r>
                        <a:rPr lang="fr-FR" sz="2200" dirty="0">
                          <a:effectLst/>
                        </a:rPr>
                        <a:t>74,719,143</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5,364,567</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059262875"/>
                  </a:ext>
                </a:extLst>
              </a:tr>
              <a:tr h="1209537">
                <a:tc>
                  <a:txBody>
                    <a:bodyPr/>
                    <a:lstStyle/>
                    <a:p>
                      <a:pPr algn="just">
                        <a:lnSpc>
                          <a:spcPct val="150000"/>
                        </a:lnSpc>
                        <a:spcAft>
                          <a:spcPts val="800"/>
                        </a:spcAft>
                      </a:pPr>
                      <a:r>
                        <a:rPr lang="fr-FR" sz="2200">
                          <a:effectLst/>
                        </a:rPr>
                        <a:t>CCA</a:t>
                      </a:r>
                      <a:endParaRPr lang="en-GH" sz="22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FCFA 1,000,000 for the Nioro and </a:t>
                      </a:r>
                      <a:r>
                        <a:rPr lang="fr-FR" sz="2200" dirty="0" err="1">
                          <a:effectLst/>
                        </a:rPr>
                        <a:t>Popenguine</a:t>
                      </a:r>
                      <a:r>
                        <a:rPr lang="fr-FR" sz="2200" dirty="0">
                          <a:effectLst/>
                        </a:rPr>
                        <a:t> </a:t>
                      </a:r>
                      <a:r>
                        <a:rPr lang="fr-FR" sz="2200" dirty="0" err="1">
                          <a:effectLst/>
                        </a:rPr>
                        <a:t>CCAs</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just">
                        <a:lnSpc>
                          <a:spcPct val="150000"/>
                        </a:lnSpc>
                        <a:spcAft>
                          <a:spcPts val="800"/>
                        </a:spcAft>
                      </a:pPr>
                      <a:r>
                        <a:rPr lang="fr-FR" sz="2200" dirty="0">
                          <a:effectLst/>
                        </a:rPr>
                        <a:t>1,000,000</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50000"/>
                        </a:lnSpc>
                        <a:spcAft>
                          <a:spcPts val="800"/>
                        </a:spcAft>
                      </a:pPr>
                      <a:r>
                        <a:rPr lang="fr-FR" sz="2200" dirty="0">
                          <a:effectLst/>
                        </a:rPr>
                        <a:t>Activities halted for lack of funding</a:t>
                      </a:r>
                      <a:endParaRPr lang="en-GH" sz="2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758476877"/>
                  </a:ext>
                </a:extLst>
              </a:tr>
            </a:tbl>
          </a:graphicData>
        </a:graphic>
      </p:graphicFrame>
      <p:sp>
        <p:nvSpPr>
          <p:cNvPr id="5" name="Rectangle 1">
            <a:extLst>
              <a:ext uri="{FF2B5EF4-FFF2-40B4-BE49-F238E27FC236}">
                <a16:creationId xmlns:a16="http://schemas.microsoft.com/office/drawing/2014/main" id="{21EA6350-E323-344A-A2F0-4E55E5C5CE62}"/>
              </a:ext>
            </a:extLst>
          </p:cNvPr>
          <p:cNvSpPr>
            <a:spLocks noChangeArrowheads="1"/>
          </p:cNvSpPr>
          <p:nvPr/>
        </p:nvSpPr>
        <p:spPr bwMode="auto">
          <a:xfrm>
            <a:off x="4476750" y="2489200"/>
            <a:ext cx="146304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GH" altLang="en-GH" sz="1800" b="0" i="0" u="none" strike="noStrike" cap="none" normalizeH="0" baseline="0">
                <a:ln>
                  <a:noFill/>
                </a:ln>
                <a:solidFill>
                  <a:schemeClr val="tx1"/>
                </a:solidFill>
                <a:effectLst/>
                <a:latin typeface="Arial" panose="020B0604020202020204" pitchFamily="34" charset="0"/>
              </a:rPr>
            </a:br>
            <a:endParaRPr kumimoji="0" lang="en-GH" altLang="en-GH" sz="1800" b="0" i="0" u="none" strike="noStrike" cap="none" normalizeH="0" baseline="0">
              <a:ln>
                <a:noFill/>
              </a:ln>
              <a:solidFill>
                <a:schemeClr val="tx1"/>
              </a:solidFill>
              <a:effectLst/>
              <a:latin typeface="Arial" panose="020B0604020202020204" pitchFamily="34" charset="0"/>
            </a:endParaRPr>
          </a:p>
        </p:txBody>
      </p:sp>
      <p:sp>
        <p:nvSpPr>
          <p:cNvPr id="9" name="TextBox 8">
            <a:extLst>
              <a:ext uri="{FF2B5EF4-FFF2-40B4-BE49-F238E27FC236}">
                <a16:creationId xmlns:a16="http://schemas.microsoft.com/office/drawing/2014/main" id="{09FAAEAC-B51D-9E45-9694-D6F7CA79A2C2}"/>
              </a:ext>
            </a:extLst>
          </p:cNvPr>
          <p:cNvSpPr txBox="1"/>
          <p:nvPr/>
        </p:nvSpPr>
        <p:spPr>
          <a:xfrm>
            <a:off x="1538653" y="1027630"/>
            <a:ext cx="11553093" cy="461665"/>
          </a:xfrm>
          <a:prstGeom prst="rect">
            <a:avLst/>
          </a:prstGeom>
          <a:noFill/>
        </p:spPr>
        <p:txBody>
          <a:bodyPr wrap="square">
            <a:spAutoFit/>
          </a:bodyPr>
          <a:lstStyle/>
          <a:p>
            <a:r>
              <a:rPr lang="fr-FR" sz="2400" dirty="0">
                <a:latin typeface="Times New Roman" panose="02020603050405020304" pitchFamily="18" charset="0"/>
                <a:ea typeface="Calibri" panose="020F0502020204030204" pitchFamily="34" charset="0"/>
              </a:rPr>
              <a:t>A</a:t>
            </a:r>
            <a:r>
              <a:rPr lang="fr-FR" sz="2400" dirty="0">
                <a:effectLst/>
                <a:latin typeface="Times New Roman" panose="02020603050405020304" pitchFamily="18" charset="0"/>
                <a:ea typeface="Calibri" panose="020F0502020204030204" pitchFamily="34" charset="0"/>
              </a:rPr>
              <a:t>ctors and beneficiaries are clear evidence of the existence of a challenge to ASRH funding </a:t>
            </a:r>
            <a:endParaRPr lang="en-GH" sz="2400" dirty="0"/>
          </a:p>
        </p:txBody>
      </p:sp>
    </p:spTree>
    <p:extLst>
      <p:ext uri="{BB962C8B-B14F-4D97-AF65-F5344CB8AC3E}">
        <p14:creationId xmlns:p14="http://schemas.microsoft.com/office/powerpoint/2010/main" val="2137900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EDDBB197-D710-4A4F-A9CA-FD2177498B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4630400"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975D1CFA-2CDB-4B64-BD9F-85744E8DA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6" y="0"/>
            <a:ext cx="14630034"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8E0BF9F2-4B7D-F945-BF7F-9E89D012D391}"/>
              </a:ext>
            </a:extLst>
          </p:cNvPr>
          <p:cNvSpPr>
            <a:spLocks noGrp="1"/>
          </p:cNvSpPr>
          <p:nvPr>
            <p:ph type="title"/>
          </p:nvPr>
        </p:nvSpPr>
        <p:spPr>
          <a:xfrm>
            <a:off x="965129" y="204722"/>
            <a:ext cx="6678746" cy="1078955"/>
          </a:xfrm>
        </p:spPr>
        <p:txBody>
          <a:bodyPr>
            <a:normAutofit fontScale="90000"/>
          </a:bodyPr>
          <a:lstStyle/>
          <a:p>
            <a:pPr>
              <a:lnSpc>
                <a:spcPct val="90000"/>
              </a:lnSpc>
            </a:pPr>
            <a:r>
              <a:rPr lang="en-GB" sz="4000" b="1" dirty="0">
                <a:solidFill>
                  <a:schemeClr val="tx2"/>
                </a:solidFill>
              </a:rPr>
              <a:t>Strategies to Address ASRH Funding Gap</a:t>
            </a:r>
            <a:br>
              <a:rPr lang="en-GB" sz="4000" dirty="0">
                <a:solidFill>
                  <a:schemeClr val="tx2"/>
                </a:solidFill>
              </a:rPr>
            </a:br>
            <a:endParaRPr lang="en-GH" sz="4000" dirty="0">
              <a:solidFill>
                <a:schemeClr val="tx2"/>
              </a:solidFill>
            </a:endParaRPr>
          </a:p>
        </p:txBody>
      </p:sp>
      <p:sp>
        <p:nvSpPr>
          <p:cNvPr id="5" name="Content Placeholder 4">
            <a:extLst>
              <a:ext uri="{FF2B5EF4-FFF2-40B4-BE49-F238E27FC236}">
                <a16:creationId xmlns:a16="http://schemas.microsoft.com/office/drawing/2014/main" id="{63E5B6DF-1FE8-3F41-91E3-EFCF6EEA3BB1}"/>
              </a:ext>
            </a:extLst>
          </p:cNvPr>
          <p:cNvSpPr>
            <a:spLocks noGrp="1"/>
          </p:cNvSpPr>
          <p:nvPr>
            <p:ph idx="1"/>
          </p:nvPr>
        </p:nvSpPr>
        <p:spPr>
          <a:xfrm>
            <a:off x="540305" y="1682496"/>
            <a:ext cx="6986522" cy="5950859"/>
          </a:xfrm>
        </p:spPr>
        <p:txBody>
          <a:bodyPr anchor="ctr">
            <a:normAutofit fontScale="92500"/>
          </a:bodyPr>
          <a:lstStyle/>
          <a:p>
            <a:pPr>
              <a:lnSpc>
                <a:spcPct val="90000"/>
              </a:lnSpc>
            </a:pPr>
            <a:r>
              <a:rPr lang="en-GB" sz="2400" dirty="0"/>
              <a:t>Encourage local authorities to include ASRH in their health budgets</a:t>
            </a:r>
          </a:p>
          <a:p>
            <a:pPr marL="0" indent="0">
              <a:lnSpc>
                <a:spcPct val="90000"/>
              </a:lnSpc>
              <a:buNone/>
            </a:pPr>
            <a:endParaRPr lang="en-GB" sz="2400" dirty="0"/>
          </a:p>
          <a:p>
            <a:pPr>
              <a:lnSpc>
                <a:spcPct val="90000"/>
              </a:lnSpc>
            </a:pPr>
            <a:r>
              <a:rPr lang="en-GB" sz="2400" dirty="0"/>
              <a:t>Encourage companies to devote part of their Corporate Social Responsibility and/or local development funds to financing ASRH interventions</a:t>
            </a:r>
          </a:p>
          <a:p>
            <a:pPr marL="0" indent="0">
              <a:lnSpc>
                <a:spcPct val="90000"/>
              </a:lnSpc>
              <a:buNone/>
            </a:pPr>
            <a:endParaRPr lang="en-GB" sz="2400" dirty="0"/>
          </a:p>
          <a:p>
            <a:pPr>
              <a:lnSpc>
                <a:spcPct val="90000"/>
              </a:lnSpc>
            </a:pPr>
            <a:r>
              <a:rPr lang="en-GB" sz="2400" b="1" dirty="0"/>
              <a:t>Strengthen the partnership between ASRH actors</a:t>
            </a:r>
            <a:r>
              <a:rPr lang="en-GB" sz="2400" dirty="0"/>
              <a:t> in the mobilization of resources (external and domestic) through the establishment of consortiums</a:t>
            </a:r>
          </a:p>
          <a:p>
            <a:pPr marL="0" indent="0">
              <a:lnSpc>
                <a:spcPct val="90000"/>
              </a:lnSpc>
              <a:buNone/>
            </a:pPr>
            <a:endParaRPr lang="en-GB" sz="2400" dirty="0"/>
          </a:p>
          <a:p>
            <a:pPr>
              <a:lnSpc>
                <a:spcPct val="90000"/>
              </a:lnSpc>
            </a:pPr>
            <a:r>
              <a:rPr lang="en-GB" sz="2400" b="1" dirty="0"/>
              <a:t>Pool the resource</a:t>
            </a:r>
            <a:r>
              <a:rPr lang="en-GB" sz="2400" dirty="0"/>
              <a:t>s of players involved in the ASRH (mapping of interventions, private sector health workers and TFPs)</a:t>
            </a:r>
          </a:p>
          <a:p>
            <a:pPr marL="0" indent="0">
              <a:lnSpc>
                <a:spcPct val="90000"/>
              </a:lnSpc>
              <a:buNone/>
            </a:pPr>
            <a:endParaRPr lang="en-GB" sz="2400" dirty="0"/>
          </a:p>
          <a:p>
            <a:pPr>
              <a:lnSpc>
                <a:spcPct val="90000"/>
              </a:lnSpc>
            </a:pPr>
            <a:r>
              <a:rPr lang="en-GB" sz="2400" b="1" dirty="0"/>
              <a:t>Integrate the ASRH component into all government youth integration programs </a:t>
            </a:r>
            <a:r>
              <a:rPr lang="en-GB" sz="2400" dirty="0"/>
              <a:t>(DER, ANPEJ, etc.).</a:t>
            </a:r>
          </a:p>
          <a:p>
            <a:pPr>
              <a:lnSpc>
                <a:spcPct val="90000"/>
              </a:lnSpc>
            </a:pPr>
            <a:endParaRPr lang="en-GH" sz="2000" dirty="0">
              <a:solidFill>
                <a:schemeClr val="tx2"/>
              </a:solidFill>
            </a:endParaRPr>
          </a:p>
        </p:txBody>
      </p:sp>
      <p:grpSp>
        <p:nvGrpSpPr>
          <p:cNvPr id="16" name="Group 15">
            <a:extLst>
              <a:ext uri="{FF2B5EF4-FFF2-40B4-BE49-F238E27FC236}">
                <a16:creationId xmlns:a16="http://schemas.microsoft.com/office/drawing/2014/main" id="{25EE5136-01F1-466C-962D-BA9B4C6757A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643876" y="0"/>
            <a:ext cx="6986524" cy="8022320"/>
            <a:chOff x="6357228" y="0"/>
            <a:chExt cx="5822103" cy="6685267"/>
          </a:xfrm>
        </p:grpSpPr>
        <p:sp>
          <p:nvSpPr>
            <p:cNvPr id="17" name="Freeform: Shape 16">
              <a:extLst>
                <a:ext uri="{FF2B5EF4-FFF2-40B4-BE49-F238E27FC236}">
                  <a16:creationId xmlns:a16="http://schemas.microsoft.com/office/drawing/2014/main" id="{E11D3AD4-AF9B-4EB5-8C7B-C45D173B4B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357228" y="0"/>
              <a:ext cx="5822102" cy="6685267"/>
            </a:xfrm>
            <a:custGeom>
              <a:avLst/>
              <a:gdLst>
                <a:gd name="connsiteX0" fmla="*/ 2605444 w 5822102"/>
                <a:gd name="connsiteY0" fmla="*/ 0 h 6685267"/>
                <a:gd name="connsiteX1" fmla="*/ 4757391 w 5822102"/>
                <a:gd name="connsiteY1" fmla="*/ 0 h 6685267"/>
                <a:gd name="connsiteX2" fmla="*/ 4913680 w 5822102"/>
                <a:gd name="connsiteY2" fmla="*/ 56274 h 6685267"/>
                <a:gd name="connsiteX3" fmla="*/ 5376238 w 5822102"/>
                <a:gd name="connsiteY3" fmla="*/ 282027 h 6685267"/>
                <a:gd name="connsiteX4" fmla="*/ 5658024 w 5822102"/>
                <a:gd name="connsiteY4" fmla="*/ 471014 h 6685267"/>
                <a:gd name="connsiteX5" fmla="*/ 5822102 w 5822102"/>
                <a:gd name="connsiteY5" fmla="*/ 609109 h 6685267"/>
                <a:gd name="connsiteX6" fmla="*/ 5822102 w 5822102"/>
                <a:gd name="connsiteY6" fmla="*/ 760697 h 6685267"/>
                <a:gd name="connsiteX7" fmla="*/ 5707785 w 5822102"/>
                <a:gd name="connsiteY7" fmla="*/ 666601 h 6685267"/>
                <a:gd name="connsiteX8" fmla="*/ 5577306 w 5822102"/>
                <a:gd name="connsiteY8" fmla="*/ 571666 h 6685267"/>
                <a:gd name="connsiteX9" fmla="*/ 5298630 w 5822102"/>
                <a:gd name="connsiteY9" fmla="*/ 407449 h 6685267"/>
                <a:gd name="connsiteX10" fmla="*/ 4690768 w 5822102"/>
                <a:gd name="connsiteY10" fmla="*/ 184979 h 6685267"/>
                <a:gd name="connsiteX11" fmla="*/ 4048577 w 5822102"/>
                <a:gd name="connsiteY11" fmla="*/ 99280 h 6685267"/>
                <a:gd name="connsiteX12" fmla="*/ 3405404 w 5822102"/>
                <a:gd name="connsiteY12" fmla="*/ 131937 h 6685267"/>
                <a:gd name="connsiteX13" fmla="*/ 3089702 w 5822102"/>
                <a:gd name="connsiteY13" fmla="*/ 190190 h 6685267"/>
                <a:gd name="connsiteX14" fmla="*/ 2780132 w 5822102"/>
                <a:gd name="connsiteY14" fmla="*/ 273457 h 6685267"/>
                <a:gd name="connsiteX15" fmla="*/ 2478040 w 5822102"/>
                <a:gd name="connsiteY15" fmla="*/ 379654 h 6685267"/>
                <a:gd name="connsiteX16" fmla="*/ 2184897 w 5822102"/>
                <a:gd name="connsiteY16" fmla="*/ 507972 h 6685267"/>
                <a:gd name="connsiteX17" fmla="*/ 1629141 w 5822102"/>
                <a:gd name="connsiteY17" fmla="*/ 823205 h 6685267"/>
                <a:gd name="connsiteX18" fmla="*/ 1497711 w 5822102"/>
                <a:gd name="connsiteY18" fmla="*/ 914000 h 6685267"/>
                <a:gd name="connsiteX19" fmla="*/ 1433099 w 5822102"/>
                <a:gd name="connsiteY19" fmla="*/ 960903 h 6685267"/>
                <a:gd name="connsiteX20" fmla="*/ 1369346 w 5822102"/>
                <a:gd name="connsiteY20" fmla="*/ 1008963 h 6685267"/>
                <a:gd name="connsiteX21" fmla="*/ 1123406 w 5822102"/>
                <a:gd name="connsiteY21" fmla="*/ 1212905 h 6685267"/>
                <a:gd name="connsiteX22" fmla="*/ 684367 w 5822102"/>
                <a:gd name="connsiteY22" fmla="*/ 1675564 h 6685267"/>
                <a:gd name="connsiteX23" fmla="*/ 497153 w 5822102"/>
                <a:gd name="connsiteY23" fmla="*/ 1933588 h 6685267"/>
                <a:gd name="connsiteX24" fmla="*/ 337770 w 5822102"/>
                <a:gd name="connsiteY24" fmla="*/ 2208983 h 6685267"/>
                <a:gd name="connsiteX25" fmla="*/ 302461 w 5822102"/>
                <a:gd name="connsiteY25" fmla="*/ 2280207 h 6685267"/>
                <a:gd name="connsiteX26" fmla="*/ 285296 w 5822102"/>
                <a:gd name="connsiteY26" fmla="*/ 2316107 h 6685267"/>
                <a:gd name="connsiteX27" fmla="*/ 268991 w 5822102"/>
                <a:gd name="connsiteY27" fmla="*/ 2352355 h 6685267"/>
                <a:gd name="connsiteX28" fmla="*/ 237849 w 5822102"/>
                <a:gd name="connsiteY28" fmla="*/ 2425432 h 6685267"/>
                <a:gd name="connsiteX29" fmla="*/ 208670 w 5822102"/>
                <a:gd name="connsiteY29" fmla="*/ 2499319 h 6685267"/>
                <a:gd name="connsiteX30" fmla="*/ 113775 w 5822102"/>
                <a:gd name="connsiteY30" fmla="*/ 2801929 h 6685267"/>
                <a:gd name="connsiteX31" fmla="*/ 36781 w 5822102"/>
                <a:gd name="connsiteY31" fmla="*/ 3428922 h 6685267"/>
                <a:gd name="connsiteX32" fmla="*/ 69148 w 5822102"/>
                <a:gd name="connsiteY32" fmla="*/ 3741955 h 6685267"/>
                <a:gd name="connsiteX33" fmla="*/ 167966 w 5822102"/>
                <a:gd name="connsiteY33" fmla="*/ 4041323 h 6685267"/>
                <a:gd name="connsiteX34" fmla="*/ 202049 w 5822102"/>
                <a:gd name="connsiteY34" fmla="*/ 4112894 h 6685267"/>
                <a:gd name="connsiteX35" fmla="*/ 239933 w 5822102"/>
                <a:gd name="connsiteY35" fmla="*/ 4182843 h 6685267"/>
                <a:gd name="connsiteX36" fmla="*/ 323916 w 5822102"/>
                <a:gd name="connsiteY36" fmla="*/ 4318456 h 6685267"/>
                <a:gd name="connsiteX37" fmla="*/ 416604 w 5822102"/>
                <a:gd name="connsiteY37" fmla="*/ 4449436 h 6685267"/>
                <a:gd name="connsiteX38" fmla="*/ 515911 w 5822102"/>
                <a:gd name="connsiteY38" fmla="*/ 4576711 h 6685267"/>
                <a:gd name="connsiteX39" fmla="*/ 722619 w 5822102"/>
                <a:gd name="connsiteY39" fmla="*/ 4828482 h 6685267"/>
                <a:gd name="connsiteX40" fmla="*/ 825972 w 5822102"/>
                <a:gd name="connsiteY40" fmla="*/ 4956104 h 6685267"/>
                <a:gd name="connsiteX41" fmla="*/ 926506 w 5822102"/>
                <a:gd name="connsiteY41" fmla="*/ 5085347 h 6685267"/>
                <a:gd name="connsiteX42" fmla="*/ 1027040 w 5822102"/>
                <a:gd name="connsiteY42" fmla="*/ 5210191 h 6685267"/>
                <a:gd name="connsiteX43" fmla="*/ 1132110 w 5822102"/>
                <a:gd name="connsiteY43" fmla="*/ 5330748 h 6685267"/>
                <a:gd name="connsiteX44" fmla="*/ 1354880 w 5822102"/>
                <a:gd name="connsiteY44" fmla="*/ 5558083 h 6685267"/>
                <a:gd name="connsiteX45" fmla="*/ 1855220 w 5822102"/>
                <a:gd name="connsiteY45" fmla="*/ 5937591 h 6685267"/>
                <a:gd name="connsiteX46" fmla="*/ 2131810 w 5822102"/>
                <a:gd name="connsiteY46" fmla="*/ 6080268 h 6685267"/>
                <a:gd name="connsiteX47" fmla="*/ 2423726 w 5822102"/>
                <a:gd name="connsiteY47" fmla="*/ 6188087 h 6685267"/>
                <a:gd name="connsiteX48" fmla="*/ 2727780 w 5822102"/>
                <a:gd name="connsiteY48" fmla="*/ 6262552 h 6685267"/>
                <a:gd name="connsiteX49" fmla="*/ 3041276 w 5822102"/>
                <a:gd name="connsiteY49" fmla="*/ 6304245 h 6685267"/>
                <a:gd name="connsiteX50" fmla="*/ 3360532 w 5822102"/>
                <a:gd name="connsiteY50" fmla="*/ 6317331 h 6685267"/>
                <a:gd name="connsiteX51" fmla="*/ 3439855 w 5822102"/>
                <a:gd name="connsiteY51" fmla="*/ 6316751 h 6685267"/>
                <a:gd name="connsiteX52" fmla="*/ 3478721 w 5822102"/>
                <a:gd name="connsiteY52" fmla="*/ 6315826 h 6685267"/>
                <a:gd name="connsiteX53" fmla="*/ 3517463 w 5822102"/>
                <a:gd name="connsiteY53" fmla="*/ 6313971 h 6685267"/>
                <a:gd name="connsiteX54" fmla="*/ 3671452 w 5822102"/>
                <a:gd name="connsiteY54" fmla="*/ 6301233 h 6685267"/>
                <a:gd name="connsiteX55" fmla="*/ 4265460 w 5822102"/>
                <a:gd name="connsiteY55" fmla="*/ 6149638 h 6685267"/>
                <a:gd name="connsiteX56" fmla="*/ 4546587 w 5822102"/>
                <a:gd name="connsiteY56" fmla="*/ 6018079 h 6685267"/>
                <a:gd name="connsiteX57" fmla="*/ 4818030 w 5822102"/>
                <a:gd name="connsiteY57" fmla="*/ 5858029 h 6685267"/>
                <a:gd name="connsiteX58" fmla="*/ 5081870 w 5822102"/>
                <a:gd name="connsiteY58" fmla="*/ 5676903 h 6685267"/>
                <a:gd name="connsiteX59" fmla="*/ 5212073 w 5822102"/>
                <a:gd name="connsiteY59" fmla="*/ 5581013 h 6685267"/>
                <a:gd name="connsiteX60" fmla="*/ 5343625 w 5822102"/>
                <a:gd name="connsiteY60" fmla="*/ 5481533 h 6685267"/>
                <a:gd name="connsiteX61" fmla="*/ 5610378 w 5822102"/>
                <a:gd name="connsiteY61" fmla="*/ 5284425 h 6685267"/>
                <a:gd name="connsiteX62" fmla="*/ 5822102 w 5822102"/>
                <a:gd name="connsiteY62" fmla="*/ 5126414 h 6685267"/>
                <a:gd name="connsiteX63" fmla="*/ 5822102 w 5822102"/>
                <a:gd name="connsiteY63" fmla="*/ 5556641 h 6685267"/>
                <a:gd name="connsiteX64" fmla="*/ 5576325 w 5822102"/>
                <a:gd name="connsiteY64" fmla="*/ 5749979 h 6685267"/>
                <a:gd name="connsiteX65" fmla="*/ 5447715 w 5822102"/>
                <a:gd name="connsiteY65" fmla="*/ 5852818 h 6685267"/>
                <a:gd name="connsiteX66" fmla="*/ 5315059 w 5822102"/>
                <a:gd name="connsiteY66" fmla="*/ 5956236 h 6685267"/>
                <a:gd name="connsiteX67" fmla="*/ 5038468 w 5822102"/>
                <a:gd name="connsiteY67" fmla="*/ 6155776 h 6685267"/>
                <a:gd name="connsiteX68" fmla="*/ 4741892 w 5822102"/>
                <a:gd name="connsiteY68" fmla="*/ 6338292 h 6685267"/>
                <a:gd name="connsiteX69" fmla="*/ 4420920 w 5822102"/>
                <a:gd name="connsiteY69" fmla="*/ 6492203 h 6685267"/>
                <a:gd name="connsiteX70" fmla="*/ 3717672 w 5822102"/>
                <a:gd name="connsiteY70" fmla="*/ 6670434 h 6685267"/>
                <a:gd name="connsiteX71" fmla="*/ 3535853 w 5822102"/>
                <a:gd name="connsiteY71" fmla="*/ 6683289 h 6685267"/>
                <a:gd name="connsiteX72" fmla="*/ 3490367 w 5822102"/>
                <a:gd name="connsiteY72" fmla="*/ 6684910 h 6685267"/>
                <a:gd name="connsiteX73" fmla="*/ 3445005 w 5822102"/>
                <a:gd name="connsiteY73" fmla="*/ 6685142 h 6685267"/>
                <a:gd name="connsiteX74" fmla="*/ 3355872 w 5822102"/>
                <a:gd name="connsiteY74" fmla="*/ 6684100 h 6685267"/>
                <a:gd name="connsiteX75" fmla="*/ 3179203 w 5822102"/>
                <a:gd name="connsiteY75" fmla="*/ 6677150 h 6685267"/>
                <a:gd name="connsiteX76" fmla="*/ 3002410 w 5822102"/>
                <a:gd name="connsiteY76" fmla="*/ 6661169 h 6685267"/>
                <a:gd name="connsiteX77" fmla="*/ 2650296 w 5822102"/>
                <a:gd name="connsiteY77" fmla="*/ 6604191 h 6685267"/>
                <a:gd name="connsiteX78" fmla="*/ 2306028 w 5822102"/>
                <a:gd name="connsiteY78" fmla="*/ 6505869 h 6685267"/>
                <a:gd name="connsiteX79" fmla="*/ 1978803 w 5822102"/>
                <a:gd name="connsiteY79" fmla="*/ 6363307 h 6685267"/>
                <a:gd name="connsiteX80" fmla="*/ 1678428 w 5822102"/>
                <a:gd name="connsiteY80" fmla="*/ 6177779 h 6685267"/>
                <a:gd name="connsiteX81" fmla="*/ 1175880 w 5822102"/>
                <a:gd name="connsiteY81" fmla="*/ 5710373 h 6685267"/>
                <a:gd name="connsiteX82" fmla="*/ 971502 w 5822102"/>
                <a:gd name="connsiteY82" fmla="*/ 5445399 h 6685267"/>
                <a:gd name="connsiteX83" fmla="*/ 790909 w 5822102"/>
                <a:gd name="connsiteY83" fmla="*/ 5169078 h 6685267"/>
                <a:gd name="connsiteX84" fmla="*/ 706680 w 5822102"/>
                <a:gd name="connsiteY84" fmla="*/ 5031959 h 6685267"/>
                <a:gd name="connsiteX85" fmla="*/ 619143 w 5822102"/>
                <a:gd name="connsiteY85" fmla="*/ 4897157 h 6685267"/>
                <a:gd name="connsiteX86" fmla="*/ 436465 w 5822102"/>
                <a:gd name="connsiteY86" fmla="*/ 4628710 h 6685267"/>
                <a:gd name="connsiteX87" fmla="*/ 347088 w 5822102"/>
                <a:gd name="connsiteY87" fmla="*/ 4492171 h 6685267"/>
                <a:gd name="connsiteX88" fmla="*/ 262001 w 5822102"/>
                <a:gd name="connsiteY88" fmla="*/ 4352619 h 6685267"/>
                <a:gd name="connsiteX89" fmla="*/ 118679 w 5822102"/>
                <a:gd name="connsiteY89" fmla="*/ 4059853 h 6685267"/>
                <a:gd name="connsiteX90" fmla="*/ 28322 w 5822102"/>
                <a:gd name="connsiteY90" fmla="*/ 3749136 h 6685267"/>
                <a:gd name="connsiteX91" fmla="*/ 0 w 5822102"/>
                <a:gd name="connsiteY91" fmla="*/ 3428922 h 6685267"/>
                <a:gd name="connsiteX92" fmla="*/ 253052 w 5822102"/>
                <a:gd name="connsiteY92" fmla="*/ 2174356 h 6685267"/>
                <a:gd name="connsiteX93" fmla="*/ 389141 w 5822102"/>
                <a:gd name="connsiteY93" fmla="*/ 1877652 h 6685267"/>
                <a:gd name="connsiteX94" fmla="*/ 552079 w 5822102"/>
                <a:gd name="connsiteY94" fmla="*/ 1591834 h 6685267"/>
                <a:gd name="connsiteX95" fmla="*/ 954950 w 5822102"/>
                <a:gd name="connsiteY95" fmla="*/ 1061773 h 6685267"/>
                <a:gd name="connsiteX96" fmla="*/ 1192922 w 5822102"/>
                <a:gd name="connsiteY96" fmla="*/ 822626 h 6685267"/>
                <a:gd name="connsiteX97" fmla="*/ 1255939 w 5822102"/>
                <a:gd name="connsiteY97" fmla="*/ 765880 h 6685267"/>
                <a:gd name="connsiteX98" fmla="*/ 1320183 w 5822102"/>
                <a:gd name="connsiteY98" fmla="*/ 710291 h 6685267"/>
                <a:gd name="connsiteX99" fmla="*/ 1452961 w 5822102"/>
                <a:gd name="connsiteY99" fmla="*/ 603514 h 6685267"/>
                <a:gd name="connsiteX100" fmla="*/ 2033360 w 5822102"/>
                <a:gd name="connsiteY100" fmla="*/ 235818 h 6685267"/>
                <a:gd name="connsiteX101" fmla="*/ 2512513 w 5822102"/>
                <a:gd name="connsiteY101" fmla="*/ 30012 h 668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5822102" h="6685267">
                  <a:moveTo>
                    <a:pt x="2605444" y="0"/>
                  </a:moveTo>
                  <a:lnTo>
                    <a:pt x="4757391" y="0"/>
                  </a:lnTo>
                  <a:lnTo>
                    <a:pt x="4913680" y="56274"/>
                  </a:lnTo>
                  <a:cubicBezTo>
                    <a:pt x="5074659" y="119278"/>
                    <a:pt x="5229483" y="195083"/>
                    <a:pt x="5376238" y="282027"/>
                  </a:cubicBezTo>
                  <a:cubicBezTo>
                    <a:pt x="5474014" y="340105"/>
                    <a:pt x="5568080" y="403280"/>
                    <a:pt x="5658024" y="471014"/>
                  </a:cubicBezTo>
                  <a:lnTo>
                    <a:pt x="5822102" y="609109"/>
                  </a:lnTo>
                  <a:lnTo>
                    <a:pt x="5822102" y="760697"/>
                  </a:lnTo>
                  <a:lnTo>
                    <a:pt x="5707785" y="666601"/>
                  </a:lnTo>
                  <a:cubicBezTo>
                    <a:pt x="5665273" y="633682"/>
                    <a:pt x="5621749" y="602008"/>
                    <a:pt x="5577306" y="571666"/>
                  </a:cubicBezTo>
                  <a:cubicBezTo>
                    <a:pt x="5487929" y="511562"/>
                    <a:pt x="5395118" y="456089"/>
                    <a:pt x="5298630" y="407449"/>
                  </a:cubicBezTo>
                  <a:cubicBezTo>
                    <a:pt x="5106266" y="309010"/>
                    <a:pt x="4901153" y="235355"/>
                    <a:pt x="4690768" y="184979"/>
                  </a:cubicBezTo>
                  <a:cubicBezTo>
                    <a:pt x="4480382" y="134486"/>
                    <a:pt x="4264724" y="106807"/>
                    <a:pt x="4048577" y="99280"/>
                  </a:cubicBezTo>
                  <a:cubicBezTo>
                    <a:pt x="3832182" y="90709"/>
                    <a:pt x="3617997" y="102290"/>
                    <a:pt x="3405404" y="131937"/>
                  </a:cubicBezTo>
                  <a:cubicBezTo>
                    <a:pt x="3299353" y="147340"/>
                    <a:pt x="3193915" y="166449"/>
                    <a:pt x="3089702" y="190190"/>
                  </a:cubicBezTo>
                  <a:cubicBezTo>
                    <a:pt x="2985491" y="214278"/>
                    <a:pt x="2882137" y="241725"/>
                    <a:pt x="2780132" y="273457"/>
                  </a:cubicBezTo>
                  <a:cubicBezTo>
                    <a:pt x="2678126" y="305073"/>
                    <a:pt x="2577348" y="340510"/>
                    <a:pt x="2478040" y="379654"/>
                  </a:cubicBezTo>
                  <a:cubicBezTo>
                    <a:pt x="2378854" y="418914"/>
                    <a:pt x="2281017" y="461763"/>
                    <a:pt x="2184897" y="507972"/>
                  </a:cubicBezTo>
                  <a:cubicBezTo>
                    <a:pt x="1992657" y="600271"/>
                    <a:pt x="1806791" y="705542"/>
                    <a:pt x="1629141" y="823205"/>
                  </a:cubicBezTo>
                  <a:cubicBezTo>
                    <a:pt x="1584882" y="852736"/>
                    <a:pt x="1540745" y="882731"/>
                    <a:pt x="1497711" y="914000"/>
                  </a:cubicBezTo>
                  <a:cubicBezTo>
                    <a:pt x="1475888" y="929286"/>
                    <a:pt x="1454555" y="945153"/>
                    <a:pt x="1433099" y="960903"/>
                  </a:cubicBezTo>
                  <a:cubicBezTo>
                    <a:pt x="1411521" y="976537"/>
                    <a:pt x="1390311" y="992634"/>
                    <a:pt x="1369346" y="1008963"/>
                  </a:cubicBezTo>
                  <a:cubicBezTo>
                    <a:pt x="1285119" y="1074165"/>
                    <a:pt x="1202730" y="1141797"/>
                    <a:pt x="1123406" y="1212905"/>
                  </a:cubicBezTo>
                  <a:cubicBezTo>
                    <a:pt x="964391" y="1354656"/>
                    <a:pt x="816900" y="1509261"/>
                    <a:pt x="684367" y="1675564"/>
                  </a:cubicBezTo>
                  <a:cubicBezTo>
                    <a:pt x="618161" y="1758716"/>
                    <a:pt x="555512" y="1844763"/>
                    <a:pt x="497153" y="1933588"/>
                  </a:cubicBezTo>
                  <a:cubicBezTo>
                    <a:pt x="439775" y="2022877"/>
                    <a:pt x="385584" y="2114367"/>
                    <a:pt x="337770" y="2208983"/>
                  </a:cubicBezTo>
                  <a:cubicBezTo>
                    <a:pt x="325388" y="2232493"/>
                    <a:pt x="313862" y="2256349"/>
                    <a:pt x="302461" y="2280207"/>
                  </a:cubicBezTo>
                  <a:lnTo>
                    <a:pt x="285296" y="2316107"/>
                  </a:lnTo>
                  <a:lnTo>
                    <a:pt x="268991" y="2352355"/>
                  </a:lnTo>
                  <a:cubicBezTo>
                    <a:pt x="258324" y="2376560"/>
                    <a:pt x="247535" y="2400764"/>
                    <a:pt x="237849" y="2425432"/>
                  </a:cubicBezTo>
                  <a:cubicBezTo>
                    <a:pt x="228163" y="2450099"/>
                    <a:pt x="217498" y="2474419"/>
                    <a:pt x="208670" y="2499319"/>
                  </a:cubicBezTo>
                  <a:cubicBezTo>
                    <a:pt x="170909" y="2598219"/>
                    <a:pt x="138908" y="2699206"/>
                    <a:pt x="113775" y="2801929"/>
                  </a:cubicBezTo>
                  <a:cubicBezTo>
                    <a:pt x="62773" y="3006911"/>
                    <a:pt x="36659" y="3217917"/>
                    <a:pt x="36781" y="3428922"/>
                  </a:cubicBezTo>
                  <a:cubicBezTo>
                    <a:pt x="37394" y="3534078"/>
                    <a:pt x="47816" y="3639001"/>
                    <a:pt x="69148" y="3741955"/>
                  </a:cubicBezTo>
                  <a:cubicBezTo>
                    <a:pt x="91585" y="3844679"/>
                    <a:pt x="124074" y="3945202"/>
                    <a:pt x="167966" y="4041323"/>
                  </a:cubicBezTo>
                  <a:cubicBezTo>
                    <a:pt x="178387" y="4065528"/>
                    <a:pt x="190525" y="4089153"/>
                    <a:pt x="202049" y="4112894"/>
                  </a:cubicBezTo>
                  <a:cubicBezTo>
                    <a:pt x="214555" y="4136288"/>
                    <a:pt x="226447" y="4159912"/>
                    <a:pt x="239933" y="4182843"/>
                  </a:cubicBezTo>
                  <a:cubicBezTo>
                    <a:pt x="265680" y="4229167"/>
                    <a:pt x="294368" y="4274101"/>
                    <a:pt x="323916" y="4318456"/>
                  </a:cubicBezTo>
                  <a:cubicBezTo>
                    <a:pt x="353341" y="4362927"/>
                    <a:pt x="384849" y="4406240"/>
                    <a:pt x="416604" y="4449436"/>
                  </a:cubicBezTo>
                  <a:cubicBezTo>
                    <a:pt x="448847" y="4492286"/>
                    <a:pt x="482319" y="4534557"/>
                    <a:pt x="515911" y="4576711"/>
                  </a:cubicBezTo>
                  <a:cubicBezTo>
                    <a:pt x="583219" y="4661137"/>
                    <a:pt x="653594" y="4743825"/>
                    <a:pt x="722619" y="4828482"/>
                  </a:cubicBezTo>
                  <a:cubicBezTo>
                    <a:pt x="757315" y="4870637"/>
                    <a:pt x="791889" y="4913138"/>
                    <a:pt x="825972" y="4956104"/>
                  </a:cubicBezTo>
                  <a:cubicBezTo>
                    <a:pt x="859934" y="4998722"/>
                    <a:pt x="893649" y="5044004"/>
                    <a:pt x="926506" y="5085347"/>
                  </a:cubicBezTo>
                  <a:cubicBezTo>
                    <a:pt x="959119" y="5127734"/>
                    <a:pt x="993324" y="5168847"/>
                    <a:pt x="1027040" y="5210191"/>
                  </a:cubicBezTo>
                  <a:cubicBezTo>
                    <a:pt x="1061737" y="5250840"/>
                    <a:pt x="1096188" y="5291488"/>
                    <a:pt x="1132110" y="5330748"/>
                  </a:cubicBezTo>
                  <a:cubicBezTo>
                    <a:pt x="1203465" y="5409731"/>
                    <a:pt x="1277639" y="5485818"/>
                    <a:pt x="1354880" y="5558083"/>
                  </a:cubicBezTo>
                  <a:cubicBezTo>
                    <a:pt x="1509603" y="5702266"/>
                    <a:pt x="1676588" y="5830930"/>
                    <a:pt x="1855220" y="5937591"/>
                  </a:cubicBezTo>
                  <a:cubicBezTo>
                    <a:pt x="1944720" y="5990632"/>
                    <a:pt x="2036549" y="6039272"/>
                    <a:pt x="2131810" y="6080268"/>
                  </a:cubicBezTo>
                  <a:cubicBezTo>
                    <a:pt x="2226460" y="6122423"/>
                    <a:pt x="2324173" y="6157977"/>
                    <a:pt x="2423726" y="6188087"/>
                  </a:cubicBezTo>
                  <a:cubicBezTo>
                    <a:pt x="2523280" y="6218313"/>
                    <a:pt x="2624794" y="6242749"/>
                    <a:pt x="2727780" y="6262552"/>
                  </a:cubicBezTo>
                  <a:cubicBezTo>
                    <a:pt x="2830890" y="6282008"/>
                    <a:pt x="2935714" y="6295326"/>
                    <a:pt x="3041276" y="6304245"/>
                  </a:cubicBezTo>
                  <a:cubicBezTo>
                    <a:pt x="3146836" y="6313277"/>
                    <a:pt x="3253499" y="6317215"/>
                    <a:pt x="3360532" y="6317331"/>
                  </a:cubicBezTo>
                  <a:cubicBezTo>
                    <a:pt x="3387259" y="6317331"/>
                    <a:pt x="3414354" y="6317794"/>
                    <a:pt x="3439855" y="6316751"/>
                  </a:cubicBezTo>
                  <a:lnTo>
                    <a:pt x="3478721" y="6315826"/>
                  </a:lnTo>
                  <a:lnTo>
                    <a:pt x="3517463" y="6313971"/>
                  </a:lnTo>
                  <a:cubicBezTo>
                    <a:pt x="3569078" y="6311772"/>
                    <a:pt x="3620449" y="6306907"/>
                    <a:pt x="3671452" y="6301233"/>
                  </a:cubicBezTo>
                  <a:cubicBezTo>
                    <a:pt x="3875707" y="6277608"/>
                    <a:pt x="4074445" y="6225841"/>
                    <a:pt x="4265460" y="6149638"/>
                  </a:cubicBezTo>
                  <a:cubicBezTo>
                    <a:pt x="4361212" y="6111884"/>
                    <a:pt x="4454636" y="6067065"/>
                    <a:pt x="4546587" y="6018079"/>
                  </a:cubicBezTo>
                  <a:cubicBezTo>
                    <a:pt x="4638662" y="5969322"/>
                    <a:pt x="4729020" y="5915240"/>
                    <a:pt x="4818030" y="5858029"/>
                  </a:cubicBezTo>
                  <a:cubicBezTo>
                    <a:pt x="4907038" y="5800703"/>
                    <a:pt x="4994577" y="5739672"/>
                    <a:pt x="5081870" y="5676903"/>
                  </a:cubicBezTo>
                  <a:cubicBezTo>
                    <a:pt x="5125392" y="5645519"/>
                    <a:pt x="5168794" y="5613324"/>
                    <a:pt x="5212073" y="5581013"/>
                  </a:cubicBezTo>
                  <a:lnTo>
                    <a:pt x="5343625" y="5481533"/>
                  </a:lnTo>
                  <a:cubicBezTo>
                    <a:pt x="5432696" y="5414768"/>
                    <a:pt x="5521951" y="5349452"/>
                    <a:pt x="5610378" y="5284425"/>
                  </a:cubicBezTo>
                  <a:lnTo>
                    <a:pt x="5822102" y="5126414"/>
                  </a:lnTo>
                  <a:lnTo>
                    <a:pt x="5822102" y="5556641"/>
                  </a:lnTo>
                  <a:lnTo>
                    <a:pt x="5576325" y="5749979"/>
                  </a:lnTo>
                  <a:lnTo>
                    <a:pt x="5447715" y="5852818"/>
                  </a:lnTo>
                  <a:cubicBezTo>
                    <a:pt x="5403945" y="5887445"/>
                    <a:pt x="5359932" y="5922073"/>
                    <a:pt x="5315059" y="5956236"/>
                  </a:cubicBezTo>
                  <a:cubicBezTo>
                    <a:pt x="5225682" y="6024680"/>
                    <a:pt x="5133976" y="6091734"/>
                    <a:pt x="5038468" y="6155776"/>
                  </a:cubicBezTo>
                  <a:cubicBezTo>
                    <a:pt x="4943084" y="6219703"/>
                    <a:pt x="4845002" y="6281777"/>
                    <a:pt x="4741892" y="6338292"/>
                  </a:cubicBezTo>
                  <a:cubicBezTo>
                    <a:pt x="4638784" y="6394692"/>
                    <a:pt x="4532120" y="6447038"/>
                    <a:pt x="4420920" y="6492203"/>
                  </a:cubicBezTo>
                  <a:cubicBezTo>
                    <a:pt x="4199255" y="6583693"/>
                    <a:pt x="3959813" y="6644840"/>
                    <a:pt x="3717672" y="6670434"/>
                  </a:cubicBezTo>
                  <a:cubicBezTo>
                    <a:pt x="3657106" y="6676456"/>
                    <a:pt x="3596419" y="6681321"/>
                    <a:pt x="3535853" y="6683289"/>
                  </a:cubicBezTo>
                  <a:lnTo>
                    <a:pt x="3490367" y="6684910"/>
                  </a:lnTo>
                  <a:lnTo>
                    <a:pt x="3445005" y="6685142"/>
                  </a:lnTo>
                  <a:cubicBezTo>
                    <a:pt x="3414354" y="6685605"/>
                    <a:pt x="3385297" y="6684679"/>
                    <a:pt x="3355872" y="6684100"/>
                  </a:cubicBezTo>
                  <a:cubicBezTo>
                    <a:pt x="3297146" y="6683405"/>
                    <a:pt x="3238052" y="6680047"/>
                    <a:pt x="3179203" y="6677150"/>
                  </a:cubicBezTo>
                  <a:cubicBezTo>
                    <a:pt x="3120232" y="6672519"/>
                    <a:pt x="3061259" y="6668233"/>
                    <a:pt x="3002410" y="6661169"/>
                  </a:cubicBezTo>
                  <a:cubicBezTo>
                    <a:pt x="2884589" y="6647851"/>
                    <a:pt x="2766891" y="6629669"/>
                    <a:pt x="2650296" y="6604191"/>
                  </a:cubicBezTo>
                  <a:cubicBezTo>
                    <a:pt x="2533702" y="6578713"/>
                    <a:pt x="2418456" y="6545938"/>
                    <a:pt x="2306028" y="6505869"/>
                  </a:cubicBezTo>
                  <a:cubicBezTo>
                    <a:pt x="2193602" y="6465683"/>
                    <a:pt x="2084118" y="6417738"/>
                    <a:pt x="1978803" y="6363307"/>
                  </a:cubicBezTo>
                  <a:cubicBezTo>
                    <a:pt x="1873855" y="6308066"/>
                    <a:pt x="1773077" y="6246340"/>
                    <a:pt x="1678428" y="6177779"/>
                  </a:cubicBezTo>
                  <a:cubicBezTo>
                    <a:pt x="1488393" y="6041356"/>
                    <a:pt x="1321900" y="5881423"/>
                    <a:pt x="1175880" y="5710373"/>
                  </a:cubicBezTo>
                  <a:cubicBezTo>
                    <a:pt x="1103177" y="5624441"/>
                    <a:pt x="1035501" y="5535732"/>
                    <a:pt x="971502" y="5445399"/>
                  </a:cubicBezTo>
                  <a:cubicBezTo>
                    <a:pt x="907380" y="5355069"/>
                    <a:pt x="847550" y="5262768"/>
                    <a:pt x="790909" y="5169078"/>
                  </a:cubicBezTo>
                  <a:cubicBezTo>
                    <a:pt x="761974" y="5121712"/>
                    <a:pt x="735492" y="5077357"/>
                    <a:pt x="706680" y="5031959"/>
                  </a:cubicBezTo>
                  <a:cubicBezTo>
                    <a:pt x="678114" y="4986910"/>
                    <a:pt x="649058" y="4941860"/>
                    <a:pt x="619143" y="4897157"/>
                  </a:cubicBezTo>
                  <a:lnTo>
                    <a:pt x="436465" y="4628710"/>
                  </a:lnTo>
                  <a:cubicBezTo>
                    <a:pt x="406182" y="4583544"/>
                    <a:pt x="376267" y="4538147"/>
                    <a:pt x="347088" y="4492171"/>
                  </a:cubicBezTo>
                  <a:cubicBezTo>
                    <a:pt x="317908" y="4446194"/>
                    <a:pt x="288974" y="4400102"/>
                    <a:pt x="262001" y="4352619"/>
                  </a:cubicBezTo>
                  <a:cubicBezTo>
                    <a:pt x="207934" y="4258119"/>
                    <a:pt x="158280" y="4160840"/>
                    <a:pt x="118679" y="4059853"/>
                  </a:cubicBezTo>
                  <a:cubicBezTo>
                    <a:pt x="78343" y="3959214"/>
                    <a:pt x="48429" y="3854870"/>
                    <a:pt x="28322" y="3749136"/>
                  </a:cubicBezTo>
                  <a:cubicBezTo>
                    <a:pt x="9073" y="3643402"/>
                    <a:pt x="0" y="3536046"/>
                    <a:pt x="0" y="3428922"/>
                  </a:cubicBezTo>
                  <a:cubicBezTo>
                    <a:pt x="1594" y="3001816"/>
                    <a:pt x="89010" y="2575868"/>
                    <a:pt x="253052" y="2174356"/>
                  </a:cubicBezTo>
                  <a:cubicBezTo>
                    <a:pt x="294246" y="2074066"/>
                    <a:pt x="338873" y="1974700"/>
                    <a:pt x="389141" y="1877652"/>
                  </a:cubicBezTo>
                  <a:cubicBezTo>
                    <a:pt x="438672" y="1780256"/>
                    <a:pt x="493230" y="1684945"/>
                    <a:pt x="552079" y="1591834"/>
                  </a:cubicBezTo>
                  <a:cubicBezTo>
                    <a:pt x="669900" y="1405728"/>
                    <a:pt x="804394" y="1227729"/>
                    <a:pt x="954950" y="1061773"/>
                  </a:cubicBezTo>
                  <a:cubicBezTo>
                    <a:pt x="1030597" y="979085"/>
                    <a:pt x="1109552" y="898829"/>
                    <a:pt x="1192922" y="822626"/>
                  </a:cubicBezTo>
                  <a:cubicBezTo>
                    <a:pt x="1213642" y="803402"/>
                    <a:pt x="1234483" y="784409"/>
                    <a:pt x="1255939" y="765880"/>
                  </a:cubicBezTo>
                  <a:cubicBezTo>
                    <a:pt x="1277273" y="747234"/>
                    <a:pt x="1298237" y="728241"/>
                    <a:pt x="1320183" y="710291"/>
                  </a:cubicBezTo>
                  <a:cubicBezTo>
                    <a:pt x="1363585" y="673811"/>
                    <a:pt x="1408088" y="638489"/>
                    <a:pt x="1452961" y="603514"/>
                  </a:cubicBezTo>
                  <a:cubicBezTo>
                    <a:pt x="1633310" y="464543"/>
                    <a:pt x="1828125" y="341437"/>
                    <a:pt x="2033360" y="235818"/>
                  </a:cubicBezTo>
                  <a:cubicBezTo>
                    <a:pt x="2187242" y="156561"/>
                    <a:pt x="2347554" y="87597"/>
                    <a:pt x="2512513" y="3001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15102EBE-A80F-4CFF-B1DD-941EF9728B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04998" y="98659"/>
              <a:ext cx="5774333" cy="6315453"/>
            </a:xfrm>
            <a:custGeom>
              <a:avLst/>
              <a:gdLst>
                <a:gd name="connsiteX0" fmla="*/ 3707237 w 5774333"/>
                <a:gd name="connsiteY0" fmla="*/ 1489 h 6315453"/>
                <a:gd name="connsiteX1" fmla="*/ 4037665 w 5774333"/>
                <a:gd name="connsiteY1" fmla="*/ 6121 h 6315453"/>
                <a:gd name="connsiteX2" fmla="*/ 4692239 w 5774333"/>
                <a:gd name="connsiteY2" fmla="*/ 102128 h 6315453"/>
                <a:gd name="connsiteX3" fmla="*/ 5315059 w 5774333"/>
                <a:gd name="connsiteY3" fmla="*/ 324945 h 6315453"/>
                <a:gd name="connsiteX4" fmla="*/ 5738325 w 5774333"/>
                <a:gd name="connsiteY4" fmla="*/ 578286 h 6315453"/>
                <a:gd name="connsiteX5" fmla="*/ 5774333 w 5774333"/>
                <a:gd name="connsiteY5" fmla="*/ 606551 h 6315453"/>
                <a:gd name="connsiteX6" fmla="*/ 5774333 w 5774333"/>
                <a:gd name="connsiteY6" fmla="*/ 975490 h 6315453"/>
                <a:gd name="connsiteX7" fmla="*/ 5676001 w 5774333"/>
                <a:gd name="connsiteY7" fmla="*/ 889749 h 6315453"/>
                <a:gd name="connsiteX8" fmla="*/ 5177132 w 5774333"/>
                <a:gd name="connsiteY8" fmla="*/ 581926 h 6315453"/>
                <a:gd name="connsiteX9" fmla="*/ 4615735 w 5774333"/>
                <a:gd name="connsiteY9" fmla="*/ 388640 h 6315453"/>
                <a:gd name="connsiteX10" fmla="*/ 4020010 w 5774333"/>
                <a:gd name="connsiteY10" fmla="*/ 308500 h 6315453"/>
                <a:gd name="connsiteX11" fmla="*/ 3416315 w 5774333"/>
                <a:gd name="connsiteY11" fmla="*/ 328882 h 6315453"/>
                <a:gd name="connsiteX12" fmla="*/ 2823779 w 5774333"/>
                <a:gd name="connsiteY12" fmla="*/ 446545 h 6315453"/>
                <a:gd name="connsiteX13" fmla="*/ 2256987 w 5774333"/>
                <a:gd name="connsiteY13" fmla="*/ 651296 h 6315453"/>
                <a:gd name="connsiteX14" fmla="*/ 1244169 w 5774333"/>
                <a:gd name="connsiteY14" fmla="*/ 1280374 h 6315453"/>
                <a:gd name="connsiteX15" fmla="*/ 830141 w 5774333"/>
                <a:gd name="connsiteY15" fmla="*/ 1700184 h 6315453"/>
                <a:gd name="connsiteX16" fmla="*/ 502792 w 5774333"/>
                <a:gd name="connsiteY16" fmla="*/ 2182300 h 6315453"/>
                <a:gd name="connsiteX17" fmla="*/ 280637 w 5774333"/>
                <a:gd name="connsiteY17" fmla="*/ 2715256 h 6315453"/>
                <a:gd name="connsiteX18" fmla="*/ 199843 w 5774333"/>
                <a:gd name="connsiteY18" fmla="*/ 3283418 h 6315453"/>
                <a:gd name="connsiteX19" fmla="*/ 233926 w 5774333"/>
                <a:gd name="connsiteY19" fmla="*/ 3561593 h 6315453"/>
                <a:gd name="connsiteX20" fmla="*/ 334582 w 5774333"/>
                <a:gd name="connsiteY20" fmla="*/ 3821816 h 6315453"/>
                <a:gd name="connsiteX21" fmla="*/ 404834 w 5774333"/>
                <a:gd name="connsiteY21" fmla="*/ 3944343 h 6315453"/>
                <a:gd name="connsiteX22" fmla="*/ 485506 w 5774333"/>
                <a:gd name="connsiteY22" fmla="*/ 4062932 h 6315453"/>
                <a:gd name="connsiteX23" fmla="*/ 671861 w 5774333"/>
                <a:gd name="connsiteY23" fmla="*/ 4292120 h 6315453"/>
                <a:gd name="connsiteX24" fmla="*/ 873542 w 5774333"/>
                <a:gd name="connsiteY24" fmla="*/ 4523044 h 6315453"/>
                <a:gd name="connsiteX25" fmla="*/ 973831 w 5774333"/>
                <a:gd name="connsiteY25" fmla="*/ 4643601 h 6315453"/>
                <a:gd name="connsiteX26" fmla="*/ 1022014 w 5774333"/>
                <a:gd name="connsiteY26" fmla="*/ 4702780 h 6315453"/>
                <a:gd name="connsiteX27" fmla="*/ 1069215 w 5774333"/>
                <a:gd name="connsiteY27" fmla="*/ 4759411 h 6315453"/>
                <a:gd name="connsiteX28" fmla="*/ 1474784 w 5774333"/>
                <a:gd name="connsiteY28" fmla="*/ 5177948 h 6315453"/>
                <a:gd name="connsiteX29" fmla="*/ 1690442 w 5774333"/>
                <a:gd name="connsiteY29" fmla="*/ 5366255 h 6315453"/>
                <a:gd name="connsiteX30" fmla="*/ 1916276 w 5774333"/>
                <a:gd name="connsiteY30" fmla="*/ 5539852 h 6315453"/>
                <a:gd name="connsiteX31" fmla="*/ 2420784 w 5774333"/>
                <a:gd name="connsiteY31" fmla="*/ 5814437 h 6315453"/>
                <a:gd name="connsiteX32" fmla="*/ 2703015 w 5774333"/>
                <a:gd name="connsiteY32" fmla="*/ 5892029 h 6315453"/>
                <a:gd name="connsiteX33" fmla="*/ 2775350 w 5774333"/>
                <a:gd name="connsiteY33" fmla="*/ 5905695 h 6315453"/>
                <a:gd name="connsiteX34" fmla="*/ 2848299 w 5774333"/>
                <a:gd name="connsiteY34" fmla="*/ 5917161 h 6315453"/>
                <a:gd name="connsiteX35" fmla="*/ 2995544 w 5774333"/>
                <a:gd name="connsiteY35" fmla="*/ 5933605 h 6315453"/>
                <a:gd name="connsiteX36" fmla="*/ 3069596 w 5774333"/>
                <a:gd name="connsiteY36" fmla="*/ 5938933 h 6315453"/>
                <a:gd name="connsiteX37" fmla="*/ 3143894 w 5774333"/>
                <a:gd name="connsiteY37" fmla="*/ 5942639 h 6315453"/>
                <a:gd name="connsiteX38" fmla="*/ 3218436 w 5774333"/>
                <a:gd name="connsiteY38" fmla="*/ 5944260 h 6315453"/>
                <a:gd name="connsiteX39" fmla="*/ 3293101 w 5774333"/>
                <a:gd name="connsiteY39" fmla="*/ 5943913 h 6315453"/>
                <a:gd name="connsiteX40" fmla="*/ 3330494 w 5774333"/>
                <a:gd name="connsiteY40" fmla="*/ 5943565 h 6315453"/>
                <a:gd name="connsiteX41" fmla="*/ 3366540 w 5774333"/>
                <a:gd name="connsiteY41" fmla="*/ 5942059 h 6315453"/>
                <a:gd name="connsiteX42" fmla="*/ 3402462 w 5774333"/>
                <a:gd name="connsiteY42" fmla="*/ 5940323 h 6315453"/>
                <a:gd name="connsiteX43" fmla="*/ 3438262 w 5774333"/>
                <a:gd name="connsiteY43" fmla="*/ 5937543 h 6315453"/>
                <a:gd name="connsiteX44" fmla="*/ 3580236 w 5774333"/>
                <a:gd name="connsiteY44" fmla="*/ 5920982 h 6315453"/>
                <a:gd name="connsiteX45" fmla="*/ 4121034 w 5774333"/>
                <a:gd name="connsiteY45" fmla="*/ 5753290 h 6315453"/>
                <a:gd name="connsiteX46" fmla="*/ 4620639 w 5774333"/>
                <a:gd name="connsiteY46" fmla="*/ 5459364 h 6315453"/>
                <a:gd name="connsiteX47" fmla="*/ 4741771 w 5774333"/>
                <a:gd name="connsiteY47" fmla="*/ 5372971 h 6315453"/>
                <a:gd name="connsiteX48" fmla="*/ 4862901 w 5774333"/>
                <a:gd name="connsiteY48" fmla="*/ 5283682 h 6315453"/>
                <a:gd name="connsiteX49" fmla="*/ 5108229 w 5774333"/>
                <a:gd name="connsiteY49" fmla="*/ 5098386 h 6315453"/>
                <a:gd name="connsiteX50" fmla="*/ 5612493 w 5774333"/>
                <a:gd name="connsiteY50" fmla="*/ 4739724 h 6315453"/>
                <a:gd name="connsiteX51" fmla="*/ 5774333 w 5774333"/>
                <a:gd name="connsiteY51" fmla="*/ 4623488 h 6315453"/>
                <a:gd name="connsiteX52" fmla="*/ 5774333 w 5774333"/>
                <a:gd name="connsiteY52" fmla="*/ 5232926 h 6315453"/>
                <a:gd name="connsiteX53" fmla="*/ 5676492 w 5774333"/>
                <a:gd name="connsiteY53" fmla="*/ 5306859 h 6315453"/>
                <a:gd name="connsiteX54" fmla="*/ 5426260 w 5774333"/>
                <a:gd name="connsiteY54" fmla="*/ 5486233 h 6315453"/>
                <a:gd name="connsiteX55" fmla="*/ 5300225 w 5774333"/>
                <a:gd name="connsiteY55" fmla="*/ 5576217 h 6315453"/>
                <a:gd name="connsiteX56" fmla="*/ 5170757 w 5774333"/>
                <a:gd name="connsiteY56" fmla="*/ 5666780 h 6315453"/>
                <a:gd name="connsiteX57" fmla="*/ 5038100 w 5774333"/>
                <a:gd name="connsiteY57" fmla="*/ 5756185 h 6315453"/>
                <a:gd name="connsiteX58" fmla="*/ 4901276 w 5774333"/>
                <a:gd name="connsiteY58" fmla="*/ 5843043 h 6315453"/>
                <a:gd name="connsiteX59" fmla="*/ 4614019 w 5774333"/>
                <a:gd name="connsiteY59" fmla="*/ 6006103 h 6315453"/>
                <a:gd name="connsiteX60" fmla="*/ 4305061 w 5774333"/>
                <a:gd name="connsiteY60" fmla="*/ 6144726 h 6315453"/>
                <a:gd name="connsiteX61" fmla="*/ 3632710 w 5774333"/>
                <a:gd name="connsiteY61" fmla="*/ 6304196 h 6315453"/>
                <a:gd name="connsiteX62" fmla="*/ 3459594 w 5774333"/>
                <a:gd name="connsiteY62" fmla="*/ 6314504 h 6315453"/>
                <a:gd name="connsiteX63" fmla="*/ 3416315 w 5774333"/>
                <a:gd name="connsiteY63" fmla="*/ 6315429 h 6315453"/>
                <a:gd name="connsiteX64" fmla="*/ 3373159 w 5774333"/>
                <a:gd name="connsiteY64" fmla="*/ 6315198 h 6315453"/>
                <a:gd name="connsiteX65" fmla="*/ 3330127 w 5774333"/>
                <a:gd name="connsiteY65" fmla="*/ 6314735 h 6315453"/>
                <a:gd name="connsiteX66" fmla="*/ 3288320 w 5774333"/>
                <a:gd name="connsiteY66" fmla="*/ 6313230 h 6315453"/>
                <a:gd name="connsiteX67" fmla="*/ 2954350 w 5774333"/>
                <a:gd name="connsiteY67" fmla="*/ 6288098 h 6315453"/>
                <a:gd name="connsiteX68" fmla="*/ 2622466 w 5774333"/>
                <a:gd name="connsiteY68" fmla="*/ 6232742 h 6315453"/>
                <a:gd name="connsiteX69" fmla="*/ 2296466 w 5774333"/>
                <a:gd name="connsiteY69" fmla="*/ 6146001 h 6315453"/>
                <a:gd name="connsiteX70" fmla="*/ 1672419 w 5774333"/>
                <a:gd name="connsiteY70" fmla="*/ 5885197 h 6315453"/>
                <a:gd name="connsiteX71" fmla="*/ 1146578 w 5774333"/>
                <a:gd name="connsiteY71" fmla="*/ 5479168 h 6315453"/>
                <a:gd name="connsiteX72" fmla="*/ 933372 w 5774333"/>
                <a:gd name="connsiteY72" fmla="*/ 5234810 h 6315453"/>
                <a:gd name="connsiteX73" fmla="*/ 747140 w 5774333"/>
                <a:gd name="connsiteY73" fmla="*/ 4976091 h 6315453"/>
                <a:gd name="connsiteX74" fmla="*/ 703616 w 5774333"/>
                <a:gd name="connsiteY74" fmla="*/ 4910196 h 6315453"/>
                <a:gd name="connsiteX75" fmla="*/ 662053 w 5774333"/>
                <a:gd name="connsiteY75" fmla="*/ 4846269 h 6315453"/>
                <a:gd name="connsiteX76" fmla="*/ 580033 w 5774333"/>
                <a:gd name="connsiteY76" fmla="*/ 4722352 h 6315453"/>
                <a:gd name="connsiteX77" fmla="*/ 410105 w 5774333"/>
                <a:gd name="connsiteY77" fmla="*/ 4469193 h 6315453"/>
                <a:gd name="connsiteX78" fmla="*/ 244224 w 5774333"/>
                <a:gd name="connsiteY78" fmla="*/ 4201556 h 6315453"/>
                <a:gd name="connsiteX79" fmla="*/ 169437 w 5774333"/>
                <a:gd name="connsiteY79" fmla="*/ 4059690 h 6315453"/>
                <a:gd name="connsiteX80" fmla="*/ 105929 w 5774333"/>
                <a:gd name="connsiteY80" fmla="*/ 3911221 h 6315453"/>
                <a:gd name="connsiteX81" fmla="*/ 57256 w 5774333"/>
                <a:gd name="connsiteY81" fmla="*/ 3757195 h 6315453"/>
                <a:gd name="connsiteX82" fmla="*/ 39111 w 5774333"/>
                <a:gd name="connsiteY82" fmla="*/ 3678677 h 6315453"/>
                <a:gd name="connsiteX83" fmla="*/ 31142 w 5774333"/>
                <a:gd name="connsiteY83" fmla="*/ 3639300 h 6315453"/>
                <a:gd name="connsiteX84" fmla="*/ 24521 w 5774333"/>
                <a:gd name="connsiteY84" fmla="*/ 3599809 h 6315453"/>
                <a:gd name="connsiteX85" fmla="*/ 0 w 5774333"/>
                <a:gd name="connsiteY85" fmla="*/ 3283418 h 6315453"/>
                <a:gd name="connsiteX86" fmla="*/ 68045 w 5774333"/>
                <a:gd name="connsiteY86" fmla="*/ 2666963 h 6315453"/>
                <a:gd name="connsiteX87" fmla="*/ 272546 w 5774333"/>
                <a:gd name="connsiteY87" fmla="*/ 2076334 h 6315453"/>
                <a:gd name="connsiteX88" fmla="*/ 1039300 w 5774333"/>
                <a:gd name="connsiteY88" fmla="*/ 1073307 h 6315453"/>
                <a:gd name="connsiteX89" fmla="*/ 1547733 w 5774333"/>
                <a:gd name="connsiteY89" fmla="*/ 680365 h 6315453"/>
                <a:gd name="connsiteX90" fmla="*/ 2115995 w 5774333"/>
                <a:gd name="connsiteY90" fmla="*/ 368373 h 6315453"/>
                <a:gd name="connsiteX91" fmla="*/ 3377451 w 5774333"/>
                <a:gd name="connsiteY91" fmla="*/ 24304 h 6315453"/>
                <a:gd name="connsiteX92" fmla="*/ 3707237 w 5774333"/>
                <a:gd name="connsiteY92" fmla="*/ 1489 h 631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774333" h="6315453">
                  <a:moveTo>
                    <a:pt x="3707237" y="1489"/>
                  </a:moveTo>
                  <a:cubicBezTo>
                    <a:pt x="3817502" y="-1522"/>
                    <a:pt x="3927875" y="41"/>
                    <a:pt x="4037665" y="6121"/>
                  </a:cubicBezTo>
                  <a:cubicBezTo>
                    <a:pt x="4257614" y="18745"/>
                    <a:pt x="4477439" y="49665"/>
                    <a:pt x="4692239" y="102128"/>
                  </a:cubicBezTo>
                  <a:cubicBezTo>
                    <a:pt x="4907039" y="154474"/>
                    <a:pt x="5116811" y="228592"/>
                    <a:pt x="5315059" y="324945"/>
                  </a:cubicBezTo>
                  <a:cubicBezTo>
                    <a:pt x="5463562" y="397211"/>
                    <a:pt x="5606133" y="481527"/>
                    <a:pt x="5738325" y="578286"/>
                  </a:cubicBezTo>
                  <a:lnTo>
                    <a:pt x="5774333" y="606551"/>
                  </a:lnTo>
                  <a:lnTo>
                    <a:pt x="5774333" y="975490"/>
                  </a:lnTo>
                  <a:lnTo>
                    <a:pt x="5676001" y="889749"/>
                  </a:lnTo>
                  <a:cubicBezTo>
                    <a:pt x="5522381" y="769886"/>
                    <a:pt x="5355519" y="665657"/>
                    <a:pt x="5177132" y="581926"/>
                  </a:cubicBezTo>
                  <a:cubicBezTo>
                    <a:pt x="4998867" y="497965"/>
                    <a:pt x="4810183" y="433574"/>
                    <a:pt x="4615735" y="388640"/>
                  </a:cubicBezTo>
                  <a:cubicBezTo>
                    <a:pt x="4421289" y="343591"/>
                    <a:pt x="4221446" y="317649"/>
                    <a:pt x="4020010" y="308500"/>
                  </a:cubicBezTo>
                  <a:cubicBezTo>
                    <a:pt x="3818207" y="298887"/>
                    <a:pt x="3616649" y="305257"/>
                    <a:pt x="3416315" y="328882"/>
                  </a:cubicBezTo>
                  <a:cubicBezTo>
                    <a:pt x="3216106" y="352623"/>
                    <a:pt x="3017736" y="392346"/>
                    <a:pt x="2823779" y="446545"/>
                  </a:cubicBezTo>
                  <a:cubicBezTo>
                    <a:pt x="2629699" y="500513"/>
                    <a:pt x="2440401" y="570345"/>
                    <a:pt x="2256987" y="651296"/>
                  </a:cubicBezTo>
                  <a:cubicBezTo>
                    <a:pt x="1889058" y="811461"/>
                    <a:pt x="1545527" y="1023856"/>
                    <a:pt x="1244169" y="1280374"/>
                  </a:cubicBezTo>
                  <a:cubicBezTo>
                    <a:pt x="1093982" y="1409039"/>
                    <a:pt x="954828" y="1549400"/>
                    <a:pt x="830141" y="1700184"/>
                  </a:cubicBezTo>
                  <a:cubicBezTo>
                    <a:pt x="705209" y="1850736"/>
                    <a:pt x="594989" y="2012176"/>
                    <a:pt x="502792" y="2182300"/>
                  </a:cubicBezTo>
                  <a:cubicBezTo>
                    <a:pt x="410595" y="2352308"/>
                    <a:pt x="333847" y="2530307"/>
                    <a:pt x="280637" y="2715256"/>
                  </a:cubicBezTo>
                  <a:cubicBezTo>
                    <a:pt x="227306" y="2899741"/>
                    <a:pt x="199719" y="3091521"/>
                    <a:pt x="199843" y="3283418"/>
                  </a:cubicBezTo>
                  <a:cubicBezTo>
                    <a:pt x="200946" y="3377687"/>
                    <a:pt x="210754" y="3471261"/>
                    <a:pt x="233926" y="3561593"/>
                  </a:cubicBezTo>
                  <a:cubicBezTo>
                    <a:pt x="256730" y="3652040"/>
                    <a:pt x="292162" y="3738550"/>
                    <a:pt x="334582" y="3821816"/>
                  </a:cubicBezTo>
                  <a:cubicBezTo>
                    <a:pt x="356038" y="3863392"/>
                    <a:pt x="379823" y="3904157"/>
                    <a:pt x="404834" y="3944343"/>
                  </a:cubicBezTo>
                  <a:cubicBezTo>
                    <a:pt x="430212" y="3984413"/>
                    <a:pt x="457308" y="4023905"/>
                    <a:pt x="485506" y="4062932"/>
                  </a:cubicBezTo>
                  <a:cubicBezTo>
                    <a:pt x="542639" y="4140757"/>
                    <a:pt x="606146" y="4216265"/>
                    <a:pt x="671861" y="4292120"/>
                  </a:cubicBezTo>
                  <a:cubicBezTo>
                    <a:pt x="737576" y="4368091"/>
                    <a:pt x="806234" y="4444062"/>
                    <a:pt x="873542" y="4523044"/>
                  </a:cubicBezTo>
                  <a:cubicBezTo>
                    <a:pt x="907258" y="4562419"/>
                    <a:pt x="940606" y="4602721"/>
                    <a:pt x="973831" y="4643601"/>
                  </a:cubicBezTo>
                  <a:lnTo>
                    <a:pt x="1022014" y="4702780"/>
                  </a:lnTo>
                  <a:cubicBezTo>
                    <a:pt x="1037829" y="4721658"/>
                    <a:pt x="1052910" y="4740998"/>
                    <a:pt x="1069215" y="4759411"/>
                  </a:cubicBezTo>
                  <a:cubicBezTo>
                    <a:pt x="1196477" y="4909269"/>
                    <a:pt x="1334527" y="5047199"/>
                    <a:pt x="1474784" y="5177948"/>
                  </a:cubicBezTo>
                  <a:cubicBezTo>
                    <a:pt x="1545281" y="5243033"/>
                    <a:pt x="1617003" y="5305917"/>
                    <a:pt x="1690442" y="5366255"/>
                  </a:cubicBezTo>
                  <a:cubicBezTo>
                    <a:pt x="1763881" y="5426591"/>
                    <a:pt x="1838668" y="5484959"/>
                    <a:pt x="1916276" y="5539852"/>
                  </a:cubicBezTo>
                  <a:cubicBezTo>
                    <a:pt x="2070877" y="5649872"/>
                    <a:pt x="2237617" y="5748194"/>
                    <a:pt x="2420784" y="5814437"/>
                  </a:cubicBezTo>
                  <a:cubicBezTo>
                    <a:pt x="2512124" y="5847559"/>
                    <a:pt x="2606773" y="5872921"/>
                    <a:pt x="2703015" y="5892029"/>
                  </a:cubicBezTo>
                  <a:cubicBezTo>
                    <a:pt x="2727168" y="5896546"/>
                    <a:pt x="2751075" y="5901758"/>
                    <a:pt x="2775350" y="5905695"/>
                  </a:cubicBezTo>
                  <a:lnTo>
                    <a:pt x="2848299" y="5917161"/>
                  </a:lnTo>
                  <a:cubicBezTo>
                    <a:pt x="2897218" y="5923298"/>
                    <a:pt x="2946136" y="5929784"/>
                    <a:pt x="2995544" y="5933605"/>
                  </a:cubicBezTo>
                  <a:cubicBezTo>
                    <a:pt x="3020188" y="5935806"/>
                    <a:pt x="3044831" y="5937891"/>
                    <a:pt x="3069596" y="5938933"/>
                  </a:cubicBezTo>
                  <a:cubicBezTo>
                    <a:pt x="3094362" y="5940090"/>
                    <a:pt x="3119005" y="5941943"/>
                    <a:pt x="3143894" y="5942639"/>
                  </a:cubicBezTo>
                  <a:lnTo>
                    <a:pt x="3218436" y="5944260"/>
                  </a:lnTo>
                  <a:cubicBezTo>
                    <a:pt x="3243201" y="5944838"/>
                    <a:pt x="3268212" y="5944029"/>
                    <a:pt x="3293101" y="5943913"/>
                  </a:cubicBezTo>
                  <a:lnTo>
                    <a:pt x="3330494" y="5943565"/>
                  </a:lnTo>
                  <a:cubicBezTo>
                    <a:pt x="3342632" y="5943218"/>
                    <a:pt x="3354524" y="5942523"/>
                    <a:pt x="3366540" y="5942059"/>
                  </a:cubicBezTo>
                  <a:cubicBezTo>
                    <a:pt x="3378554" y="5941480"/>
                    <a:pt x="3390570" y="5941134"/>
                    <a:pt x="3402462" y="5940323"/>
                  </a:cubicBezTo>
                  <a:lnTo>
                    <a:pt x="3438262" y="5937543"/>
                  </a:lnTo>
                  <a:cubicBezTo>
                    <a:pt x="3485954" y="5933953"/>
                    <a:pt x="3533279" y="5927931"/>
                    <a:pt x="3580236" y="5920982"/>
                  </a:cubicBezTo>
                  <a:cubicBezTo>
                    <a:pt x="3768185" y="5891567"/>
                    <a:pt x="3948901" y="5834010"/>
                    <a:pt x="4121034" y="5753290"/>
                  </a:cubicBezTo>
                  <a:cubicBezTo>
                    <a:pt x="4293782" y="5673497"/>
                    <a:pt x="4458191" y="5571353"/>
                    <a:pt x="4620639" y="5459364"/>
                  </a:cubicBezTo>
                  <a:cubicBezTo>
                    <a:pt x="4661221" y="5431455"/>
                    <a:pt x="4701557" y="5402271"/>
                    <a:pt x="4741771" y="5372971"/>
                  </a:cubicBezTo>
                  <a:cubicBezTo>
                    <a:pt x="4782230" y="5343672"/>
                    <a:pt x="4822566" y="5313908"/>
                    <a:pt x="4862901" y="5283682"/>
                  </a:cubicBezTo>
                  <a:lnTo>
                    <a:pt x="5108229" y="5098386"/>
                  </a:lnTo>
                  <a:cubicBezTo>
                    <a:pt x="5276563" y="4972270"/>
                    <a:pt x="5446489" y="4854838"/>
                    <a:pt x="5612493" y="4739724"/>
                  </a:cubicBezTo>
                  <a:lnTo>
                    <a:pt x="5774333" y="4623488"/>
                  </a:lnTo>
                  <a:lnTo>
                    <a:pt x="5774333" y="5232926"/>
                  </a:lnTo>
                  <a:lnTo>
                    <a:pt x="5676492" y="5306859"/>
                  </a:lnTo>
                  <a:cubicBezTo>
                    <a:pt x="5592693" y="5367905"/>
                    <a:pt x="5508955" y="5427286"/>
                    <a:pt x="5426260" y="5486233"/>
                  </a:cubicBezTo>
                  <a:lnTo>
                    <a:pt x="5300225" y="5576217"/>
                  </a:lnTo>
                  <a:cubicBezTo>
                    <a:pt x="5257559" y="5606443"/>
                    <a:pt x="5214525" y="5636901"/>
                    <a:pt x="5170757" y="5666780"/>
                  </a:cubicBezTo>
                  <a:cubicBezTo>
                    <a:pt x="5127110" y="5696775"/>
                    <a:pt x="5082973" y="5726654"/>
                    <a:pt x="5038100" y="5756185"/>
                  </a:cubicBezTo>
                  <a:cubicBezTo>
                    <a:pt x="4993106" y="5785486"/>
                    <a:pt x="4947743" y="5814553"/>
                    <a:pt x="4901276" y="5843043"/>
                  </a:cubicBezTo>
                  <a:cubicBezTo>
                    <a:pt x="4808835" y="5900136"/>
                    <a:pt x="4713449" y="5955494"/>
                    <a:pt x="4614019" y="6006103"/>
                  </a:cubicBezTo>
                  <a:cubicBezTo>
                    <a:pt x="4514711" y="6056943"/>
                    <a:pt x="4411971" y="6104192"/>
                    <a:pt x="4305061" y="6144726"/>
                  </a:cubicBezTo>
                  <a:cubicBezTo>
                    <a:pt x="4092223" y="6226952"/>
                    <a:pt x="3863569" y="6282424"/>
                    <a:pt x="3632710" y="6304196"/>
                  </a:cubicBezTo>
                  <a:cubicBezTo>
                    <a:pt x="3574964" y="6309408"/>
                    <a:pt x="3517218" y="6313345"/>
                    <a:pt x="3459594" y="6314504"/>
                  </a:cubicBezTo>
                  <a:lnTo>
                    <a:pt x="3416315" y="6315429"/>
                  </a:lnTo>
                  <a:cubicBezTo>
                    <a:pt x="3401971" y="6315546"/>
                    <a:pt x="3387505" y="6315198"/>
                    <a:pt x="3373159" y="6315198"/>
                  </a:cubicBezTo>
                  <a:lnTo>
                    <a:pt x="3330127" y="6314735"/>
                  </a:lnTo>
                  <a:lnTo>
                    <a:pt x="3288320" y="6313230"/>
                  </a:lnTo>
                  <a:cubicBezTo>
                    <a:pt x="3176996" y="6309870"/>
                    <a:pt x="3065428" y="6301533"/>
                    <a:pt x="2954350" y="6288098"/>
                  </a:cubicBezTo>
                  <a:cubicBezTo>
                    <a:pt x="2843150" y="6275360"/>
                    <a:pt x="2732194" y="6257061"/>
                    <a:pt x="2622466" y="6232742"/>
                  </a:cubicBezTo>
                  <a:cubicBezTo>
                    <a:pt x="2512859" y="6208190"/>
                    <a:pt x="2404110" y="6179122"/>
                    <a:pt x="2296466" y="6146001"/>
                  </a:cubicBezTo>
                  <a:cubicBezTo>
                    <a:pt x="2081544" y="6079179"/>
                    <a:pt x="1869073" y="5996027"/>
                    <a:pt x="1672419" y="5885197"/>
                  </a:cubicBezTo>
                  <a:cubicBezTo>
                    <a:pt x="1475643" y="5774599"/>
                    <a:pt x="1299954" y="5634353"/>
                    <a:pt x="1146578" y="5479168"/>
                  </a:cubicBezTo>
                  <a:cubicBezTo>
                    <a:pt x="1069461" y="5401692"/>
                    <a:pt x="999333" y="5319235"/>
                    <a:pt x="933372" y="5234810"/>
                  </a:cubicBezTo>
                  <a:cubicBezTo>
                    <a:pt x="867781" y="5150038"/>
                    <a:pt x="805375" y="5063991"/>
                    <a:pt x="747140" y="4976091"/>
                  </a:cubicBezTo>
                  <a:cubicBezTo>
                    <a:pt x="732182" y="4954319"/>
                    <a:pt x="718082" y="4932199"/>
                    <a:pt x="703616" y="4910196"/>
                  </a:cubicBezTo>
                  <a:lnTo>
                    <a:pt x="662053" y="4846269"/>
                  </a:lnTo>
                  <a:cubicBezTo>
                    <a:pt x="635449" y="4804925"/>
                    <a:pt x="607864" y="4763928"/>
                    <a:pt x="580033" y="4722352"/>
                  </a:cubicBezTo>
                  <a:lnTo>
                    <a:pt x="410105" y="4469193"/>
                  </a:lnTo>
                  <a:cubicBezTo>
                    <a:pt x="353095" y="4382915"/>
                    <a:pt x="296820" y="4294089"/>
                    <a:pt x="244224" y="4201556"/>
                  </a:cubicBezTo>
                  <a:cubicBezTo>
                    <a:pt x="217987" y="4155232"/>
                    <a:pt x="192609" y="4108098"/>
                    <a:pt x="169437" y="4059690"/>
                  </a:cubicBezTo>
                  <a:cubicBezTo>
                    <a:pt x="146388" y="4011165"/>
                    <a:pt x="124932" y="3961715"/>
                    <a:pt x="105929" y="3911221"/>
                  </a:cubicBezTo>
                  <a:cubicBezTo>
                    <a:pt x="87293" y="3860613"/>
                    <a:pt x="70742" y="3809309"/>
                    <a:pt x="57256" y="3757195"/>
                  </a:cubicBezTo>
                  <a:cubicBezTo>
                    <a:pt x="50881" y="3731138"/>
                    <a:pt x="44383" y="3704965"/>
                    <a:pt x="39111" y="3678677"/>
                  </a:cubicBezTo>
                  <a:lnTo>
                    <a:pt x="31142" y="3639300"/>
                  </a:lnTo>
                  <a:lnTo>
                    <a:pt x="24521" y="3599809"/>
                  </a:lnTo>
                  <a:cubicBezTo>
                    <a:pt x="7234" y="3494423"/>
                    <a:pt x="0" y="3388457"/>
                    <a:pt x="0" y="3283418"/>
                  </a:cubicBezTo>
                  <a:cubicBezTo>
                    <a:pt x="491" y="3076698"/>
                    <a:pt x="23418" y="2869978"/>
                    <a:pt x="68045" y="2666963"/>
                  </a:cubicBezTo>
                  <a:cubicBezTo>
                    <a:pt x="112550" y="2464064"/>
                    <a:pt x="180717" y="2265104"/>
                    <a:pt x="272546" y="2076334"/>
                  </a:cubicBezTo>
                  <a:cubicBezTo>
                    <a:pt x="457062" y="1698794"/>
                    <a:pt x="724457" y="1360978"/>
                    <a:pt x="1039300" y="1073307"/>
                  </a:cubicBezTo>
                  <a:cubicBezTo>
                    <a:pt x="1197090" y="929472"/>
                    <a:pt x="1367630" y="798259"/>
                    <a:pt x="1547733" y="680365"/>
                  </a:cubicBezTo>
                  <a:cubicBezTo>
                    <a:pt x="1728081" y="562587"/>
                    <a:pt x="1917870" y="457663"/>
                    <a:pt x="2115995" y="368373"/>
                  </a:cubicBezTo>
                  <a:cubicBezTo>
                    <a:pt x="2512737" y="191070"/>
                    <a:pt x="2939883" y="73870"/>
                    <a:pt x="3377451" y="24304"/>
                  </a:cubicBezTo>
                  <a:cubicBezTo>
                    <a:pt x="3486812" y="12086"/>
                    <a:pt x="3596971" y="4500"/>
                    <a:pt x="3707237" y="148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EC18CE1F-9DF1-47AF-9E66-6CE348AC23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10220" y="131729"/>
              <a:ext cx="5769111" cy="6229400"/>
            </a:xfrm>
            <a:custGeom>
              <a:avLst/>
              <a:gdLst>
                <a:gd name="connsiteX0" fmla="*/ 3882695 w 5769111"/>
                <a:gd name="connsiteY0" fmla="*/ 0 h 6229400"/>
                <a:gd name="connsiteX1" fmla="*/ 5691883 w 5769111"/>
                <a:gd name="connsiteY1" fmla="*/ 557381 h 6229400"/>
                <a:gd name="connsiteX2" fmla="*/ 5769111 w 5769111"/>
                <a:gd name="connsiteY2" fmla="*/ 620523 h 6229400"/>
                <a:gd name="connsiteX3" fmla="*/ 5769111 w 5769111"/>
                <a:gd name="connsiteY3" fmla="*/ 1464911 h 6229400"/>
                <a:gd name="connsiteX4" fmla="*/ 5660063 w 5769111"/>
                <a:gd name="connsiteY4" fmla="*/ 1328105 h 6229400"/>
                <a:gd name="connsiteX5" fmla="*/ 4910471 w 5769111"/>
                <a:gd name="connsiteY5" fmla="*/ 781599 h 6229400"/>
                <a:gd name="connsiteX6" fmla="*/ 3882695 w 5769111"/>
                <a:gd name="connsiteY6" fmla="*/ 579048 h 6229400"/>
                <a:gd name="connsiteX7" fmla="*/ 2683153 w 5769111"/>
                <a:gd name="connsiteY7" fmla="*/ 797003 h 6229400"/>
                <a:gd name="connsiteX8" fmla="*/ 1617493 w 5769111"/>
                <a:gd name="connsiteY8" fmla="*/ 1395738 h 6229400"/>
                <a:gd name="connsiteX9" fmla="*/ 880408 w 5769111"/>
                <a:gd name="connsiteY9" fmla="*/ 2259099 h 6229400"/>
                <a:gd name="connsiteX10" fmla="*/ 613135 w 5769111"/>
                <a:gd name="connsiteY10" fmla="*/ 3263863 h 6229400"/>
                <a:gd name="connsiteX11" fmla="*/ 1055484 w 5769111"/>
                <a:gd name="connsiteY11" fmla="*/ 4196825 h 6229400"/>
                <a:gd name="connsiteX12" fmla="*/ 1278376 w 5769111"/>
                <a:gd name="connsiteY12" fmla="*/ 4492950 h 6229400"/>
                <a:gd name="connsiteX13" fmla="*/ 3369851 w 5769111"/>
                <a:gd name="connsiteY13" fmla="*/ 5650468 h 6229400"/>
                <a:gd name="connsiteX14" fmla="*/ 4957551 w 5769111"/>
                <a:gd name="connsiteY14" fmla="*/ 4938355 h 6229400"/>
                <a:gd name="connsiteX15" fmla="*/ 5150773 w 5769111"/>
                <a:gd name="connsiteY15" fmla="*/ 4796950 h 6229400"/>
                <a:gd name="connsiteX16" fmla="*/ 5747247 w 5769111"/>
                <a:gd name="connsiteY16" fmla="*/ 4338176 h 6229400"/>
                <a:gd name="connsiteX17" fmla="*/ 5769111 w 5769111"/>
                <a:gd name="connsiteY17" fmla="*/ 4318497 h 6229400"/>
                <a:gd name="connsiteX18" fmla="*/ 5769111 w 5769111"/>
                <a:gd name="connsiteY18" fmla="*/ 5074612 h 6229400"/>
                <a:gd name="connsiteX19" fmla="*/ 5636252 w 5769111"/>
                <a:gd name="connsiteY19" fmla="*/ 5174208 h 6229400"/>
                <a:gd name="connsiteX20" fmla="*/ 5334922 w 5769111"/>
                <a:gd name="connsiteY20" fmla="*/ 5394528 h 6229400"/>
                <a:gd name="connsiteX21" fmla="*/ 3369727 w 5769111"/>
                <a:gd name="connsiteY21" fmla="*/ 6229400 h 6229400"/>
                <a:gd name="connsiteX22" fmla="*/ 771046 w 5769111"/>
                <a:gd name="connsiteY22" fmla="*/ 4817913 h 6229400"/>
                <a:gd name="connsiteX23" fmla="*/ 0 w 5769111"/>
                <a:gd name="connsiteY23" fmla="*/ 3263748 h 6229400"/>
                <a:gd name="connsiteX24" fmla="*/ 3882695 w 5769111"/>
                <a:gd name="connsiteY24" fmla="*/ 0 h 62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69111" h="6229400">
                  <a:moveTo>
                    <a:pt x="3882695" y="0"/>
                  </a:moveTo>
                  <a:cubicBezTo>
                    <a:pt x="4601253" y="0"/>
                    <a:pt x="5210727" y="205477"/>
                    <a:pt x="5691883" y="557381"/>
                  </a:cubicBezTo>
                  <a:lnTo>
                    <a:pt x="5769111" y="620523"/>
                  </a:lnTo>
                  <a:lnTo>
                    <a:pt x="5769111" y="1464911"/>
                  </a:lnTo>
                  <a:lnTo>
                    <a:pt x="5660063" y="1328105"/>
                  </a:lnTo>
                  <a:cubicBezTo>
                    <a:pt x="5449800" y="1091506"/>
                    <a:pt x="5197607" y="907600"/>
                    <a:pt x="4910471" y="781599"/>
                  </a:cubicBezTo>
                  <a:cubicBezTo>
                    <a:pt x="4604088" y="647260"/>
                    <a:pt x="4258349" y="579048"/>
                    <a:pt x="3882695" y="579048"/>
                  </a:cubicBezTo>
                  <a:cubicBezTo>
                    <a:pt x="3484238" y="579048"/>
                    <a:pt x="3080631" y="652240"/>
                    <a:pt x="2683153" y="797003"/>
                  </a:cubicBezTo>
                  <a:cubicBezTo>
                    <a:pt x="2296098" y="937595"/>
                    <a:pt x="1927678" y="1144662"/>
                    <a:pt x="1617493" y="1395738"/>
                  </a:cubicBezTo>
                  <a:cubicBezTo>
                    <a:pt x="1301915" y="1651098"/>
                    <a:pt x="1053890" y="1941665"/>
                    <a:pt x="880408" y="2259099"/>
                  </a:cubicBezTo>
                  <a:cubicBezTo>
                    <a:pt x="703125" y="2583597"/>
                    <a:pt x="613135" y="2921645"/>
                    <a:pt x="613135" y="3263863"/>
                  </a:cubicBezTo>
                  <a:cubicBezTo>
                    <a:pt x="613135" y="3608512"/>
                    <a:pt x="756702" y="3809789"/>
                    <a:pt x="1055484" y="4196825"/>
                  </a:cubicBezTo>
                  <a:cubicBezTo>
                    <a:pt x="1127574" y="4290167"/>
                    <a:pt x="1202116" y="4386753"/>
                    <a:pt x="1278376" y="4492950"/>
                  </a:cubicBezTo>
                  <a:cubicBezTo>
                    <a:pt x="1861105" y="5304313"/>
                    <a:pt x="2486623" y="5650468"/>
                    <a:pt x="3369851" y="5650468"/>
                  </a:cubicBezTo>
                  <a:cubicBezTo>
                    <a:pt x="3949515" y="5650468"/>
                    <a:pt x="4374822" y="5368471"/>
                    <a:pt x="4957551" y="4938355"/>
                  </a:cubicBezTo>
                  <a:cubicBezTo>
                    <a:pt x="5022653" y="4890293"/>
                    <a:pt x="5087755" y="4842811"/>
                    <a:pt x="5150773" y="4796950"/>
                  </a:cubicBezTo>
                  <a:cubicBezTo>
                    <a:pt x="5364254" y="4641404"/>
                    <a:pt x="5570313" y="4491241"/>
                    <a:pt x="5747247" y="4338176"/>
                  </a:cubicBezTo>
                  <a:lnTo>
                    <a:pt x="5769111" y="4318497"/>
                  </a:lnTo>
                  <a:lnTo>
                    <a:pt x="5769111" y="5074612"/>
                  </a:lnTo>
                  <a:lnTo>
                    <a:pt x="5636252" y="5174208"/>
                  </a:lnTo>
                  <a:cubicBezTo>
                    <a:pt x="5537051" y="5246835"/>
                    <a:pt x="5436100" y="5319845"/>
                    <a:pt x="5334922" y="5394528"/>
                  </a:cubicBezTo>
                  <a:cubicBezTo>
                    <a:pt x="4745327" y="5829741"/>
                    <a:pt x="4177309" y="6229400"/>
                    <a:pt x="3369727" y="6229400"/>
                  </a:cubicBezTo>
                  <a:cubicBezTo>
                    <a:pt x="2172147" y="6229400"/>
                    <a:pt x="1394603" y="5686137"/>
                    <a:pt x="771046" y="4817913"/>
                  </a:cubicBezTo>
                  <a:cubicBezTo>
                    <a:pt x="396864" y="4297000"/>
                    <a:pt x="0" y="3939728"/>
                    <a:pt x="0" y="3263748"/>
                  </a:cubicBezTo>
                  <a:cubicBezTo>
                    <a:pt x="0" y="1461170"/>
                    <a:pt x="1955141" y="0"/>
                    <a:pt x="38826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5BD26A8C-8D1D-41E6-A71E-FE9AC75F3F8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410220" y="131729"/>
              <a:ext cx="5769111" cy="6229400"/>
            </a:xfrm>
            <a:custGeom>
              <a:avLst/>
              <a:gdLst>
                <a:gd name="connsiteX0" fmla="*/ 3882695 w 5769111"/>
                <a:gd name="connsiteY0" fmla="*/ 0 h 6229400"/>
                <a:gd name="connsiteX1" fmla="*/ 5691883 w 5769111"/>
                <a:gd name="connsiteY1" fmla="*/ 557381 h 6229400"/>
                <a:gd name="connsiteX2" fmla="*/ 5769111 w 5769111"/>
                <a:gd name="connsiteY2" fmla="*/ 620523 h 6229400"/>
                <a:gd name="connsiteX3" fmla="*/ 5769111 w 5769111"/>
                <a:gd name="connsiteY3" fmla="*/ 1675390 h 6229400"/>
                <a:gd name="connsiteX4" fmla="*/ 5711488 w 5769111"/>
                <a:gd name="connsiteY4" fmla="*/ 1585205 h 6229400"/>
                <a:gd name="connsiteX5" fmla="*/ 5566027 w 5769111"/>
                <a:gd name="connsiteY5" fmla="*/ 1402571 h 6229400"/>
                <a:gd name="connsiteX6" fmla="*/ 4858734 w 5769111"/>
                <a:gd name="connsiteY6" fmla="*/ 886639 h 6229400"/>
                <a:gd name="connsiteX7" fmla="*/ 3882695 w 5769111"/>
                <a:gd name="connsiteY7" fmla="*/ 694858 h 6229400"/>
                <a:gd name="connsiteX8" fmla="*/ 2727046 w 5769111"/>
                <a:gd name="connsiteY8" fmla="*/ 905053 h 6229400"/>
                <a:gd name="connsiteX9" fmla="*/ 1697186 w 5769111"/>
                <a:gd name="connsiteY9" fmla="*/ 1483638 h 6229400"/>
                <a:gd name="connsiteX10" fmla="*/ 989279 w 5769111"/>
                <a:gd name="connsiteY10" fmla="*/ 2312139 h 6229400"/>
                <a:gd name="connsiteX11" fmla="*/ 735615 w 5769111"/>
                <a:gd name="connsiteY11" fmla="*/ 3263863 h 6229400"/>
                <a:gd name="connsiteX12" fmla="*/ 1154424 w 5769111"/>
                <a:gd name="connsiteY12" fmla="*/ 4128614 h 6229400"/>
                <a:gd name="connsiteX13" fmla="*/ 1379768 w 5769111"/>
                <a:gd name="connsiteY13" fmla="*/ 4427981 h 6229400"/>
                <a:gd name="connsiteX14" fmla="*/ 2239456 w 5769111"/>
                <a:gd name="connsiteY14" fmla="*/ 5256947 h 6229400"/>
                <a:gd name="connsiteX15" fmla="*/ 3369727 w 5769111"/>
                <a:gd name="connsiteY15" fmla="*/ 5534658 h 6229400"/>
                <a:gd name="connsiteX16" fmla="*/ 4096760 w 5769111"/>
                <a:gd name="connsiteY16" fmla="*/ 5357817 h 6229400"/>
                <a:gd name="connsiteX17" fmla="*/ 4881905 w 5769111"/>
                <a:gd name="connsiteY17" fmla="*/ 4847212 h 6229400"/>
                <a:gd name="connsiteX18" fmla="*/ 5075739 w 5769111"/>
                <a:gd name="connsiteY18" fmla="*/ 4705346 h 6229400"/>
                <a:gd name="connsiteX19" fmla="*/ 5759930 w 5769111"/>
                <a:gd name="connsiteY19" fmla="*/ 4166809 h 6229400"/>
                <a:gd name="connsiteX20" fmla="*/ 5769111 w 5769111"/>
                <a:gd name="connsiteY20" fmla="*/ 4157764 h 6229400"/>
                <a:gd name="connsiteX21" fmla="*/ 5769111 w 5769111"/>
                <a:gd name="connsiteY21" fmla="*/ 5074612 h 6229400"/>
                <a:gd name="connsiteX22" fmla="*/ 5636252 w 5769111"/>
                <a:gd name="connsiteY22" fmla="*/ 5174208 h 6229400"/>
                <a:gd name="connsiteX23" fmla="*/ 5334922 w 5769111"/>
                <a:gd name="connsiteY23" fmla="*/ 5394528 h 6229400"/>
                <a:gd name="connsiteX24" fmla="*/ 3369727 w 5769111"/>
                <a:gd name="connsiteY24" fmla="*/ 6229400 h 6229400"/>
                <a:gd name="connsiteX25" fmla="*/ 771046 w 5769111"/>
                <a:gd name="connsiteY25" fmla="*/ 4817913 h 6229400"/>
                <a:gd name="connsiteX26" fmla="*/ 0 w 5769111"/>
                <a:gd name="connsiteY26" fmla="*/ 3263748 h 6229400"/>
                <a:gd name="connsiteX27" fmla="*/ 3882695 w 5769111"/>
                <a:gd name="connsiteY27" fmla="*/ 0 h 622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69111" h="6229400">
                  <a:moveTo>
                    <a:pt x="3882695" y="0"/>
                  </a:moveTo>
                  <a:cubicBezTo>
                    <a:pt x="4601253" y="0"/>
                    <a:pt x="5210727" y="205477"/>
                    <a:pt x="5691883" y="557381"/>
                  </a:cubicBezTo>
                  <a:lnTo>
                    <a:pt x="5769111" y="620523"/>
                  </a:lnTo>
                  <a:lnTo>
                    <a:pt x="5769111" y="1675390"/>
                  </a:lnTo>
                  <a:lnTo>
                    <a:pt x="5711488" y="1585205"/>
                  </a:lnTo>
                  <a:cubicBezTo>
                    <a:pt x="5665942" y="1521390"/>
                    <a:pt x="5617428" y="1460432"/>
                    <a:pt x="5566027" y="1402571"/>
                  </a:cubicBezTo>
                  <a:cubicBezTo>
                    <a:pt x="5367411" y="1179058"/>
                    <a:pt x="5129563" y="1005460"/>
                    <a:pt x="4858734" y="886639"/>
                  </a:cubicBezTo>
                  <a:cubicBezTo>
                    <a:pt x="4568779" y="759363"/>
                    <a:pt x="4240327" y="694858"/>
                    <a:pt x="3882695" y="694858"/>
                  </a:cubicBezTo>
                  <a:cubicBezTo>
                    <a:pt x="3504835" y="694858"/>
                    <a:pt x="3105151" y="767471"/>
                    <a:pt x="2727046" y="905053"/>
                  </a:cubicBezTo>
                  <a:cubicBezTo>
                    <a:pt x="2352985" y="1041013"/>
                    <a:pt x="1996826" y="1241132"/>
                    <a:pt x="1697186" y="1483638"/>
                  </a:cubicBezTo>
                  <a:cubicBezTo>
                    <a:pt x="1397913" y="1725796"/>
                    <a:pt x="1153199" y="2012308"/>
                    <a:pt x="989279" y="2312139"/>
                  </a:cubicBezTo>
                  <a:cubicBezTo>
                    <a:pt x="820946" y="2620077"/>
                    <a:pt x="735615" y="2940290"/>
                    <a:pt x="735615" y="3263863"/>
                  </a:cubicBezTo>
                  <a:cubicBezTo>
                    <a:pt x="735615" y="3573074"/>
                    <a:pt x="863980" y="3752464"/>
                    <a:pt x="1154424" y="4128614"/>
                  </a:cubicBezTo>
                  <a:cubicBezTo>
                    <a:pt x="1227127" y="4222767"/>
                    <a:pt x="1302282" y="4320162"/>
                    <a:pt x="1379768" y="4427981"/>
                  </a:cubicBezTo>
                  <a:cubicBezTo>
                    <a:pt x="1653784" y="4809458"/>
                    <a:pt x="1934912" y="5080685"/>
                    <a:pt x="2239456" y="5256947"/>
                  </a:cubicBezTo>
                  <a:cubicBezTo>
                    <a:pt x="2562268" y="5443863"/>
                    <a:pt x="2932037" y="5534658"/>
                    <a:pt x="3369727" y="5534658"/>
                  </a:cubicBezTo>
                  <a:cubicBezTo>
                    <a:pt x="3618120" y="5534658"/>
                    <a:pt x="3849103" y="5478491"/>
                    <a:pt x="4096760" y="5357817"/>
                  </a:cubicBezTo>
                  <a:cubicBezTo>
                    <a:pt x="4351037" y="5233901"/>
                    <a:pt x="4602740" y="5053238"/>
                    <a:pt x="4881905" y="4847212"/>
                  </a:cubicBezTo>
                  <a:cubicBezTo>
                    <a:pt x="4947375" y="4798920"/>
                    <a:pt x="5012599" y="4751322"/>
                    <a:pt x="5075739" y="4705346"/>
                  </a:cubicBezTo>
                  <a:cubicBezTo>
                    <a:pt x="5327320" y="4521990"/>
                    <a:pt x="5568418" y="4346256"/>
                    <a:pt x="5759930" y="4166809"/>
                  </a:cubicBezTo>
                  <a:lnTo>
                    <a:pt x="5769111" y="4157764"/>
                  </a:lnTo>
                  <a:lnTo>
                    <a:pt x="5769111" y="5074612"/>
                  </a:lnTo>
                  <a:lnTo>
                    <a:pt x="5636252" y="5174208"/>
                  </a:lnTo>
                  <a:cubicBezTo>
                    <a:pt x="5537051" y="5246835"/>
                    <a:pt x="5436100" y="5319845"/>
                    <a:pt x="5334922" y="5394528"/>
                  </a:cubicBezTo>
                  <a:cubicBezTo>
                    <a:pt x="4745327" y="5829741"/>
                    <a:pt x="4177309" y="6229400"/>
                    <a:pt x="3369727" y="6229400"/>
                  </a:cubicBezTo>
                  <a:cubicBezTo>
                    <a:pt x="2172147" y="6229400"/>
                    <a:pt x="1394603" y="5686137"/>
                    <a:pt x="771046" y="4817913"/>
                  </a:cubicBezTo>
                  <a:cubicBezTo>
                    <a:pt x="396864" y="4297000"/>
                    <a:pt x="0" y="3939728"/>
                    <a:pt x="0" y="3263748"/>
                  </a:cubicBezTo>
                  <a:cubicBezTo>
                    <a:pt x="0" y="1461170"/>
                    <a:pt x="1955141" y="0"/>
                    <a:pt x="3882695" y="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9" name="Graphic 8" descr="Business Growth">
            <a:extLst>
              <a:ext uri="{FF2B5EF4-FFF2-40B4-BE49-F238E27FC236}">
                <a16:creationId xmlns:a16="http://schemas.microsoft.com/office/drawing/2014/main" id="{992D05FC-B7FC-8908-8A34-9555778C297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46070" y="1954906"/>
            <a:ext cx="4344026" cy="4344026"/>
          </a:xfrm>
          <a:prstGeom prst="rect">
            <a:avLst/>
          </a:prstGeom>
        </p:spPr>
      </p:pic>
    </p:spTree>
    <p:extLst>
      <p:ext uri="{BB962C8B-B14F-4D97-AF65-F5344CB8AC3E}">
        <p14:creationId xmlns:p14="http://schemas.microsoft.com/office/powerpoint/2010/main" val="232382220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43C823D3-D619-407C-89E0-C6F6B1E7A4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4630034" cy="822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47F8E3E-2FFA-4A0F-B3C7-E57ADDCFB4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6" y="0"/>
            <a:ext cx="14630034" cy="822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 name="Title 1">
            <a:extLst>
              <a:ext uri="{FF2B5EF4-FFF2-40B4-BE49-F238E27FC236}">
                <a16:creationId xmlns:a16="http://schemas.microsoft.com/office/drawing/2014/main" id="{6F055639-5C32-0240-9394-83B66D552088}"/>
              </a:ext>
            </a:extLst>
          </p:cNvPr>
          <p:cNvSpPr>
            <a:spLocks noGrp="1"/>
          </p:cNvSpPr>
          <p:nvPr>
            <p:ph type="title"/>
          </p:nvPr>
        </p:nvSpPr>
        <p:spPr>
          <a:xfrm>
            <a:off x="1415071" y="1285264"/>
            <a:ext cx="11800257" cy="932263"/>
          </a:xfrm>
        </p:spPr>
        <p:txBody>
          <a:bodyPr anchor="b">
            <a:normAutofit/>
          </a:bodyPr>
          <a:lstStyle/>
          <a:p>
            <a:r>
              <a:rPr lang="en-GH" sz="4300" b="1" dirty="0">
                <a:solidFill>
                  <a:schemeClr val="tx2"/>
                </a:solidFill>
              </a:rPr>
              <a:t>Conclusion</a:t>
            </a:r>
          </a:p>
        </p:txBody>
      </p:sp>
      <p:grpSp>
        <p:nvGrpSpPr>
          <p:cNvPr id="12" name="Group 11">
            <a:extLst>
              <a:ext uri="{FF2B5EF4-FFF2-40B4-BE49-F238E27FC236}">
                <a16:creationId xmlns:a16="http://schemas.microsoft.com/office/drawing/2014/main" id="{33D939F1-7ABE-4D0E-946A-43F37F556AF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4015321" cy="3013035"/>
            <a:chOff x="-305" y="-1"/>
            <a:chExt cx="3832880" cy="2876136"/>
          </a:xfrm>
        </p:grpSpPr>
        <p:sp>
          <p:nvSpPr>
            <p:cNvPr id="13" name="Freeform: Shape 12">
              <a:extLst>
                <a:ext uri="{FF2B5EF4-FFF2-40B4-BE49-F238E27FC236}">
                  <a16:creationId xmlns:a16="http://schemas.microsoft.com/office/drawing/2014/main" id="{63FE0426-0FE4-451E-A8BB-08DA6A6AC20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4A32F7E8-35B4-451F-AA07-AECF7CA1D53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E1097796-C3C8-4772-9EBD-9F5CA368F5A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EC4BC137-BB50-4235-A83F-4B4EEE1590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Content Placeholder 2">
            <a:extLst>
              <a:ext uri="{FF2B5EF4-FFF2-40B4-BE49-F238E27FC236}">
                <a16:creationId xmlns:a16="http://schemas.microsoft.com/office/drawing/2014/main" id="{350BC3FA-5D92-FC42-BD1D-88624DB5B5CD}"/>
              </a:ext>
            </a:extLst>
          </p:cNvPr>
          <p:cNvSpPr>
            <a:spLocks noGrp="1"/>
          </p:cNvSpPr>
          <p:nvPr>
            <p:ph idx="1"/>
          </p:nvPr>
        </p:nvSpPr>
        <p:spPr>
          <a:xfrm>
            <a:off x="1415071" y="2450592"/>
            <a:ext cx="11800257" cy="4493743"/>
          </a:xfrm>
        </p:spPr>
        <p:txBody>
          <a:bodyPr>
            <a:normAutofit fontScale="92500" lnSpcReduction="20000"/>
          </a:bodyPr>
          <a:lstStyle/>
          <a:p>
            <a:r>
              <a:rPr lang="en-GB" sz="2800" dirty="0">
                <a:solidFill>
                  <a:schemeClr val="tx2"/>
                </a:solidFill>
              </a:rPr>
              <a:t>ASRH interventions in both countries is largely funded by technical and financial partners, with a some contribution from the government. </a:t>
            </a:r>
          </a:p>
          <a:p>
            <a:pPr marL="0" indent="0">
              <a:buNone/>
            </a:pPr>
            <a:endParaRPr lang="en-GB" sz="2800" dirty="0">
              <a:solidFill>
                <a:schemeClr val="tx2"/>
              </a:solidFill>
            </a:endParaRPr>
          </a:p>
          <a:p>
            <a:r>
              <a:rPr lang="en-GB" sz="2800" dirty="0">
                <a:solidFill>
                  <a:schemeClr val="tx2"/>
                </a:solidFill>
              </a:rPr>
              <a:t>The results show that the multi-sectoral approach is strongly anchored in the implementation of ASRH interventions.</a:t>
            </a:r>
          </a:p>
          <a:p>
            <a:pPr marL="0" indent="0">
              <a:buNone/>
            </a:pPr>
            <a:endParaRPr lang="en-GB" sz="2800" dirty="0">
              <a:solidFill>
                <a:schemeClr val="tx2"/>
              </a:solidFill>
            </a:endParaRPr>
          </a:p>
          <a:p>
            <a:r>
              <a:rPr lang="en-GB" sz="2800" dirty="0">
                <a:solidFill>
                  <a:schemeClr val="tx2"/>
                </a:solidFill>
              </a:rPr>
              <a:t>From major stakeholders, it is clear that even though adolescent health is a priority sector for ensuring better maternal and child health, there is no specific budget line dedicated to this category. </a:t>
            </a:r>
          </a:p>
          <a:p>
            <a:pPr marL="0" indent="0">
              <a:buNone/>
            </a:pPr>
            <a:endParaRPr lang="en-GB" sz="2800" dirty="0">
              <a:solidFill>
                <a:schemeClr val="tx2"/>
              </a:solidFill>
            </a:endParaRPr>
          </a:p>
          <a:p>
            <a:r>
              <a:rPr lang="en-GB" sz="2800" dirty="0">
                <a:solidFill>
                  <a:schemeClr val="tx2"/>
                </a:solidFill>
              </a:rPr>
              <a:t>Also, funding gaps exist and continue to escalate and sustainable funding for ASRH interventions is needed.</a:t>
            </a:r>
            <a:endParaRPr lang="en-GH" sz="2800" dirty="0">
              <a:solidFill>
                <a:schemeClr val="tx2"/>
              </a:solidFill>
            </a:endParaRPr>
          </a:p>
        </p:txBody>
      </p:sp>
      <p:grpSp>
        <p:nvGrpSpPr>
          <p:cNvPr id="18" name="Group 17">
            <a:extLst>
              <a:ext uri="{FF2B5EF4-FFF2-40B4-BE49-F238E27FC236}">
                <a16:creationId xmlns:a16="http://schemas.microsoft.com/office/drawing/2014/main" id="{9DB3963A-4187-4A72-9DA4-CA6BADE2293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10887336" y="4481206"/>
            <a:ext cx="4654397" cy="2842391"/>
            <a:chOff x="6867015" y="-1"/>
            <a:chExt cx="5324985" cy="3251912"/>
          </a:xfrm>
          <a:solidFill>
            <a:schemeClr val="accent5">
              <a:alpha val="10000"/>
            </a:schemeClr>
          </a:solidFill>
        </p:grpSpPr>
        <p:sp>
          <p:nvSpPr>
            <p:cNvPr id="19" name="Freeform: Shape 18">
              <a:extLst>
                <a:ext uri="{FF2B5EF4-FFF2-40B4-BE49-F238E27FC236}">
                  <a16:creationId xmlns:a16="http://schemas.microsoft.com/office/drawing/2014/main" id="{2428E75E-001A-4568-B035-574F1303EF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64AC8CFC-1164-4525-82A0-25F75ADCF4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6F35C856-5B70-4CA2-BB8F-A37197D8F9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550FD8B0-DE97-47B1-84ED-67A3BD00FE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692286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360" y="5929771"/>
            <a:ext cx="9326880" cy="1755648"/>
          </a:xfrm>
        </p:spPr>
        <p:txBody>
          <a:bodyPr vert="horz" lIns="109728" tIns="54864" rIns="109728" bIns="54864" rtlCol="0" anchor="ctr">
            <a:normAutofit/>
          </a:bodyPr>
          <a:lstStyle/>
          <a:p>
            <a:pPr algn="r"/>
            <a:r>
              <a:rPr lang="en-US" cap="all" spc="240" dirty="0">
                <a:solidFill>
                  <a:srgbClr val="FFFFFF"/>
                </a:solidFill>
              </a:rPr>
              <a:t>Thank you for your attention!</a:t>
            </a:r>
          </a:p>
        </p:txBody>
      </p:sp>
      <p:pic>
        <p:nvPicPr>
          <p:cNvPr id="3" name="Picture 2">
            <a:extLst>
              <a:ext uri="{FF2B5EF4-FFF2-40B4-BE49-F238E27FC236}">
                <a16:creationId xmlns:a16="http://schemas.microsoft.com/office/drawing/2014/main" id="{CABF1C69-A446-41BF-88C9-0771CFBBFC99}"/>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682753" y="2695050"/>
            <a:ext cx="13101173" cy="2554729"/>
          </a:xfrm>
          <a:prstGeom prst="rect">
            <a:avLst/>
          </a:prstGeom>
          <a:noFill/>
        </p:spPr>
      </p:pic>
      <p:sp>
        <p:nvSpPr>
          <p:cNvPr id="10" name="Title 1"/>
          <p:cNvSpPr txBox="1">
            <a:spLocks/>
          </p:cNvSpPr>
          <p:nvPr/>
        </p:nvSpPr>
        <p:spPr>
          <a:xfrm>
            <a:off x="0" y="738217"/>
            <a:ext cx="9326880" cy="1755648"/>
          </a:xfrm>
          <a:prstGeom prst="rect">
            <a:avLst/>
          </a:prstGeom>
        </p:spPr>
        <p:txBody>
          <a:bodyPr vert="horz" lIns="109728" tIns="54864" rIns="109728" bIns="54864" rtlCol="0" anchor="ctr">
            <a:normAutofit/>
          </a:bodyPr>
          <a:lstStyle/>
          <a:p>
            <a:pPr algn="ctr" defTabSz="1097280">
              <a:lnSpc>
                <a:spcPct val="80000"/>
              </a:lnSpc>
              <a:spcBef>
                <a:spcPct val="0"/>
              </a:spcBef>
              <a:defRPr/>
            </a:pPr>
            <a:r>
              <a:rPr lang="en-US" sz="6000" cap="all" spc="240" dirty="0">
                <a:latin typeface="+mj-lt"/>
                <a:ea typeface="+mj-ea"/>
                <a:cs typeface="+mj-cs"/>
              </a:rPr>
              <a:t>With Funding support from</a:t>
            </a:r>
          </a:p>
        </p:txBody>
      </p:sp>
    </p:spTree>
    <p:extLst>
      <p:ext uri="{BB962C8B-B14F-4D97-AF65-F5344CB8AC3E}">
        <p14:creationId xmlns:p14="http://schemas.microsoft.com/office/powerpoint/2010/main" val="36118355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14360"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11" name="Title 10"/>
          <p:cNvSpPr>
            <a:spLocks noGrp="1"/>
          </p:cNvSpPr>
          <p:nvPr>
            <p:ph type="title"/>
          </p:nvPr>
        </p:nvSpPr>
        <p:spPr>
          <a:xfrm>
            <a:off x="360045" y="461775"/>
            <a:ext cx="13954122" cy="729614"/>
          </a:xfrm>
        </p:spPr>
        <p:txBody>
          <a:bodyPr vert="horz"/>
          <a:lstStyle/>
          <a:p>
            <a:r>
              <a:rPr lang="en-US" sz="3360" b="1" dirty="0"/>
              <a:t>Objectives</a:t>
            </a:r>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endParaRPr lang="en-US" dirty="0"/>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p:txBody>
          <a:bodyPr/>
          <a:lstStyle/>
          <a:p>
            <a:fld id="{1DB6C988-4D17-4769-AFD6-9FA8E95C5F4D}" type="slidenum">
              <a:rPr lang="en-US" smtClean="0"/>
              <a:t>6</a:t>
            </a:fld>
            <a:endParaRPr lang="en-US" dirty="0"/>
          </a:p>
        </p:txBody>
      </p:sp>
      <p:sp>
        <p:nvSpPr>
          <p:cNvPr id="3" name="Rectangle 2"/>
          <p:cNvSpPr/>
          <p:nvPr/>
        </p:nvSpPr>
        <p:spPr>
          <a:xfrm>
            <a:off x="360046" y="1584877"/>
            <a:ext cx="13443878" cy="4832092"/>
          </a:xfrm>
          <a:prstGeom prst="rect">
            <a:avLst/>
          </a:prstGeom>
        </p:spPr>
        <p:txBody>
          <a:bodyPr wrap="square">
            <a:spAutoFit/>
          </a:bodyPr>
          <a:lstStyle/>
          <a:p>
            <a:pPr marL="274320" indent="-274320">
              <a:buClr>
                <a:srgbClr val="006587"/>
              </a:buClr>
              <a:buSzPct val="100000"/>
              <a:buFont typeface="Arial" panose="020B0604020202020204" pitchFamily="34" charset="0"/>
              <a:buChar char="•"/>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The project aims to: </a:t>
            </a:r>
          </a:p>
          <a:p>
            <a:pPr marL="274320" indent="-274320">
              <a:buClr>
                <a:srgbClr val="006587"/>
              </a:buClr>
              <a:buSzPct val="100000"/>
              <a:buFont typeface="Arial" panose="020B0604020202020204" pitchFamily="34" charset="0"/>
              <a:buChar char="•"/>
            </a:pPr>
            <a:endParaRPr lang="en-US" sz="2800" dirty="0">
              <a:solidFill>
                <a:srgbClr val="006587"/>
              </a:solidFill>
              <a:latin typeface="Arial" panose="020B0604020202020204" pitchFamily="34" charset="0"/>
              <a:ea typeface="Tahoma" panose="020B0604030504040204" pitchFamily="34" charset="0"/>
              <a:cs typeface="Arial" panose="020B0604020202020204" pitchFamily="34" charset="0"/>
            </a:endParaRPr>
          </a:p>
          <a:p>
            <a:pPr marL="822960" lvl="1" indent="-274320">
              <a:buClr>
                <a:srgbClr val="006587"/>
              </a:buClr>
              <a:buSzPct val="100000"/>
              <a:buFont typeface="Arial" panose="020B0604020202020204" pitchFamily="34" charset="0"/>
              <a:buChar char="•"/>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Identify the components of “priority” interventions with concrete and detailed implementation requirements to achieve improved ASRH </a:t>
            </a:r>
          </a:p>
          <a:p>
            <a:pPr lvl="1">
              <a:buClr>
                <a:srgbClr val="006587"/>
              </a:buClr>
              <a:buSzPct val="100000"/>
            </a:pPr>
            <a:endParaRPr lang="en-US" sz="2800" dirty="0">
              <a:solidFill>
                <a:srgbClr val="006587"/>
              </a:solidFill>
              <a:latin typeface="Arial" panose="020B0604020202020204" pitchFamily="34" charset="0"/>
              <a:ea typeface="Tahoma" panose="020B0604030504040204" pitchFamily="34" charset="0"/>
              <a:cs typeface="Arial" panose="020B0604020202020204" pitchFamily="34" charset="0"/>
            </a:endParaRPr>
          </a:p>
          <a:p>
            <a:pPr marL="822960" lvl="1" indent="-274320">
              <a:buClr>
                <a:srgbClr val="006587"/>
              </a:buClr>
              <a:buSzPct val="100000"/>
              <a:buFont typeface="Arial" panose="020B0604020202020204" pitchFamily="34" charset="0"/>
              <a:buChar char="•"/>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Cost interventions identified as ‘priority’ or effective for addressing adolescent health </a:t>
            </a:r>
          </a:p>
          <a:p>
            <a:pPr lvl="1">
              <a:buClr>
                <a:srgbClr val="006587"/>
              </a:buClr>
              <a:buSzPct val="100000"/>
            </a:pPr>
            <a:endParaRPr lang="en-US" sz="2800" dirty="0">
              <a:solidFill>
                <a:srgbClr val="006587"/>
              </a:solidFill>
              <a:latin typeface="Arial" panose="020B0604020202020204" pitchFamily="34" charset="0"/>
              <a:ea typeface="Tahoma" panose="020B0604030504040204" pitchFamily="34" charset="0"/>
              <a:cs typeface="Arial" panose="020B0604020202020204" pitchFamily="34" charset="0"/>
            </a:endParaRPr>
          </a:p>
          <a:p>
            <a:pPr marL="822960" lvl="1" indent="-274320">
              <a:buClr>
                <a:srgbClr val="006587"/>
              </a:buClr>
              <a:buSzPct val="100000"/>
              <a:buFont typeface="Arial" panose="020B0604020202020204" pitchFamily="34" charset="0"/>
              <a:buChar char="•"/>
            </a:pPr>
            <a:r>
              <a:rPr lang="en-US" sz="2800" dirty="0">
                <a:solidFill>
                  <a:srgbClr val="006587"/>
                </a:solidFill>
                <a:latin typeface="Arial" panose="020B0604020202020204" pitchFamily="34" charset="0"/>
                <a:ea typeface="Tahoma" panose="020B0604030504040204" pitchFamily="34" charset="0"/>
                <a:cs typeface="Arial" panose="020B0604020202020204" pitchFamily="34" charset="0"/>
              </a:rPr>
              <a:t>Assess resource needs, funding gaps and identify financing strategies to implement priority ASRH interventions using a multicomponent and multisectoral approach</a:t>
            </a:r>
            <a:endParaRPr lang="en-US" sz="2800" dirty="0"/>
          </a:p>
        </p:txBody>
      </p:sp>
    </p:spTree>
    <p:extLst>
      <p:ext uri="{BB962C8B-B14F-4D97-AF65-F5344CB8AC3E}">
        <p14:creationId xmlns:p14="http://schemas.microsoft.com/office/powerpoint/2010/main" val="4255847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7200"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FA38A9EC-C281-4A64-B2AB-D16A17CF3CE2}"/>
              </a:ext>
            </a:extLst>
          </p:cNvPr>
          <p:cNvSpPr/>
          <p:nvPr/>
        </p:nvSpPr>
        <p:spPr>
          <a:xfrm rot="5400000">
            <a:off x="6547320" y="-265771"/>
            <a:ext cx="5626637" cy="9907061"/>
          </a:xfrm>
          <a:prstGeom prst="rect">
            <a:avLst/>
          </a:prstGeom>
          <a:solidFill>
            <a:schemeClr val="bg1"/>
          </a:solidFill>
          <a:ln>
            <a:solidFill>
              <a:srgbClr val="C4DB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11" name="Title 10"/>
          <p:cNvSpPr>
            <a:spLocks noGrp="1"/>
          </p:cNvSpPr>
          <p:nvPr>
            <p:ph type="title"/>
          </p:nvPr>
        </p:nvSpPr>
        <p:spPr>
          <a:xfrm>
            <a:off x="377468" y="357341"/>
            <a:ext cx="13954122" cy="729614"/>
          </a:xfrm>
        </p:spPr>
        <p:txBody>
          <a:bodyPr vert="horz"/>
          <a:lstStyle/>
          <a:p>
            <a:r>
              <a:rPr lang="en-GB" sz="3360" dirty="0"/>
              <a:t>Study Design and Methods</a:t>
            </a:r>
            <a:endParaRPr lang="en-US" sz="3360" dirty="0"/>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fld id="{5532CCE1-A0C2-41E5-A591-F2780608C8A4}" type="datetime1">
              <a:rPr lang="en-US" smtClean="0"/>
              <a:t>9/6/23</a:t>
            </a:fld>
            <a:endParaRPr lang="en-US"/>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a:xfrm>
            <a:off x="12502341" y="7627621"/>
            <a:ext cx="1811826" cy="438150"/>
          </a:xfrm>
        </p:spPr>
        <p:txBody>
          <a:bodyPr/>
          <a:lstStyle/>
          <a:p>
            <a:fld id="{1DB6C988-4D17-4769-AFD6-9FA8E95C5F4D}" type="slidenum">
              <a:rPr lang="en-US" smtClean="0"/>
              <a:t>7</a:t>
            </a:fld>
            <a:endParaRPr lang="en-US"/>
          </a:p>
        </p:txBody>
      </p:sp>
      <p:sp>
        <p:nvSpPr>
          <p:cNvPr id="24" name="Rounded Rectangle 8">
            <a:extLst>
              <a:ext uri="{FF2B5EF4-FFF2-40B4-BE49-F238E27FC236}">
                <a16:creationId xmlns:a16="http://schemas.microsoft.com/office/drawing/2014/main" id="{13633885-AB43-4DD3-BBBD-43E4E820DB64}"/>
              </a:ext>
            </a:extLst>
          </p:cNvPr>
          <p:cNvSpPr/>
          <p:nvPr/>
        </p:nvSpPr>
        <p:spPr>
          <a:xfrm>
            <a:off x="6960101" y="1759652"/>
            <a:ext cx="1509251" cy="1271507"/>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CSOs/NGOs</a:t>
            </a:r>
            <a:endPar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endParaRPr>
          </a:p>
        </p:txBody>
      </p:sp>
      <p:sp>
        <p:nvSpPr>
          <p:cNvPr id="25" name="Rounded Rectangle 9">
            <a:extLst>
              <a:ext uri="{FF2B5EF4-FFF2-40B4-BE49-F238E27FC236}">
                <a16:creationId xmlns:a16="http://schemas.microsoft.com/office/drawing/2014/main" id="{218EFC59-1F35-4601-A809-CADA9CAED257}"/>
              </a:ext>
            </a:extLst>
          </p:cNvPr>
          <p:cNvSpPr/>
          <p:nvPr/>
        </p:nvSpPr>
        <p:spPr>
          <a:xfrm>
            <a:off x="6896501" y="3649201"/>
            <a:ext cx="1636451" cy="1271507"/>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defRPr/>
            </a:pPr>
            <a:r>
              <a:rPr lang="en-US"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Health Sector</a:t>
            </a:r>
            <a:endPar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endParaRPr>
          </a:p>
        </p:txBody>
      </p:sp>
      <p:sp>
        <p:nvSpPr>
          <p:cNvPr id="26" name="Rounded Rectangle 10">
            <a:extLst>
              <a:ext uri="{FF2B5EF4-FFF2-40B4-BE49-F238E27FC236}">
                <a16:creationId xmlns:a16="http://schemas.microsoft.com/office/drawing/2014/main" id="{A612E983-3698-4FFB-81D6-C8CCCBC9A7BC}"/>
              </a:ext>
            </a:extLst>
          </p:cNvPr>
          <p:cNvSpPr/>
          <p:nvPr/>
        </p:nvSpPr>
        <p:spPr>
          <a:xfrm>
            <a:off x="6896501" y="5790611"/>
            <a:ext cx="1636451" cy="1271507"/>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Development Partners</a:t>
            </a:r>
            <a:endPar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endParaRPr>
          </a:p>
        </p:txBody>
      </p:sp>
      <p:sp>
        <p:nvSpPr>
          <p:cNvPr id="27" name="Rounded Rectangle 11">
            <a:extLst>
              <a:ext uri="{FF2B5EF4-FFF2-40B4-BE49-F238E27FC236}">
                <a16:creationId xmlns:a16="http://schemas.microsoft.com/office/drawing/2014/main" id="{F6FC94FC-F7EF-442E-80B0-8C8A05138E1B}"/>
              </a:ext>
            </a:extLst>
          </p:cNvPr>
          <p:cNvSpPr/>
          <p:nvPr/>
        </p:nvSpPr>
        <p:spPr>
          <a:xfrm>
            <a:off x="9475519" y="1936360"/>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PPAG</a:t>
            </a:r>
          </a:p>
        </p:txBody>
      </p:sp>
      <p:sp>
        <p:nvSpPr>
          <p:cNvPr id="28" name="Rounded Rectangle 12">
            <a:extLst>
              <a:ext uri="{FF2B5EF4-FFF2-40B4-BE49-F238E27FC236}">
                <a16:creationId xmlns:a16="http://schemas.microsoft.com/office/drawing/2014/main" id="{D666676B-92DD-49FB-B470-559664A21545}"/>
              </a:ext>
            </a:extLst>
          </p:cNvPr>
          <p:cNvSpPr/>
          <p:nvPr/>
        </p:nvSpPr>
        <p:spPr>
          <a:xfrm>
            <a:off x="9453842" y="2537317"/>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DKT</a:t>
            </a:r>
          </a:p>
        </p:txBody>
      </p:sp>
      <p:sp>
        <p:nvSpPr>
          <p:cNvPr id="29" name="Rounded Rectangle 13">
            <a:extLst>
              <a:ext uri="{FF2B5EF4-FFF2-40B4-BE49-F238E27FC236}">
                <a16:creationId xmlns:a16="http://schemas.microsoft.com/office/drawing/2014/main" id="{9FD8223A-66C1-42DC-9370-6CEAAAE86141}"/>
              </a:ext>
            </a:extLst>
          </p:cNvPr>
          <p:cNvSpPr/>
          <p:nvPr/>
        </p:nvSpPr>
        <p:spPr>
          <a:xfrm>
            <a:off x="9453842" y="3402015"/>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Ministry of Health</a:t>
            </a:r>
          </a:p>
        </p:txBody>
      </p:sp>
      <p:sp>
        <p:nvSpPr>
          <p:cNvPr id="30" name="Rounded Rectangle 14">
            <a:extLst>
              <a:ext uri="{FF2B5EF4-FFF2-40B4-BE49-F238E27FC236}">
                <a16:creationId xmlns:a16="http://schemas.microsoft.com/office/drawing/2014/main" id="{A1CCED32-3823-4980-B37F-9F934F9C80EC}"/>
              </a:ext>
            </a:extLst>
          </p:cNvPr>
          <p:cNvSpPr/>
          <p:nvPr/>
        </p:nvSpPr>
        <p:spPr>
          <a:xfrm>
            <a:off x="9453842" y="4038033"/>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Ghana Health Service</a:t>
            </a:r>
          </a:p>
        </p:txBody>
      </p:sp>
      <p:sp>
        <p:nvSpPr>
          <p:cNvPr id="31" name="Rounded Rectangle 15">
            <a:extLst>
              <a:ext uri="{FF2B5EF4-FFF2-40B4-BE49-F238E27FC236}">
                <a16:creationId xmlns:a16="http://schemas.microsoft.com/office/drawing/2014/main" id="{5BA3EB7A-1AEB-4B88-A51D-748E1479F809}"/>
              </a:ext>
            </a:extLst>
          </p:cNvPr>
          <p:cNvSpPr/>
          <p:nvPr/>
        </p:nvSpPr>
        <p:spPr>
          <a:xfrm>
            <a:off x="9453842" y="4755605"/>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CHAG</a:t>
            </a:r>
          </a:p>
        </p:txBody>
      </p:sp>
      <p:sp>
        <p:nvSpPr>
          <p:cNvPr id="33" name="Rounded Rectangle 17">
            <a:extLst>
              <a:ext uri="{FF2B5EF4-FFF2-40B4-BE49-F238E27FC236}">
                <a16:creationId xmlns:a16="http://schemas.microsoft.com/office/drawing/2014/main" id="{AC32BAFB-0712-4A59-85A7-9973E19FEB53}"/>
              </a:ext>
            </a:extLst>
          </p:cNvPr>
          <p:cNvSpPr/>
          <p:nvPr/>
        </p:nvSpPr>
        <p:spPr>
          <a:xfrm>
            <a:off x="9453842" y="5499485"/>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0" tIns="54864" rIns="0"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UNFPA</a:t>
            </a:r>
          </a:p>
        </p:txBody>
      </p:sp>
      <p:sp>
        <p:nvSpPr>
          <p:cNvPr id="34" name="Rounded Rectangle 18">
            <a:extLst>
              <a:ext uri="{FF2B5EF4-FFF2-40B4-BE49-F238E27FC236}">
                <a16:creationId xmlns:a16="http://schemas.microsoft.com/office/drawing/2014/main" id="{4F599887-764D-423B-B9A3-4DFEBDE16B04}"/>
              </a:ext>
            </a:extLst>
          </p:cNvPr>
          <p:cNvSpPr/>
          <p:nvPr/>
        </p:nvSpPr>
        <p:spPr>
          <a:xfrm>
            <a:off x="9453842" y="6226741"/>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0" tIns="54864" rIns="0"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UNICEF</a:t>
            </a:r>
          </a:p>
        </p:txBody>
      </p:sp>
      <p:sp>
        <p:nvSpPr>
          <p:cNvPr id="35" name="Rounded Rectangle 19">
            <a:extLst>
              <a:ext uri="{FF2B5EF4-FFF2-40B4-BE49-F238E27FC236}">
                <a16:creationId xmlns:a16="http://schemas.microsoft.com/office/drawing/2014/main" id="{0CE7D89A-5AE3-4B50-98B3-611C6013F593}"/>
              </a:ext>
            </a:extLst>
          </p:cNvPr>
          <p:cNvSpPr/>
          <p:nvPr/>
        </p:nvSpPr>
        <p:spPr>
          <a:xfrm>
            <a:off x="9453842" y="6859403"/>
            <a:ext cx="2159038" cy="49384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UK Aid</a:t>
            </a:r>
          </a:p>
        </p:txBody>
      </p:sp>
      <p:sp>
        <p:nvSpPr>
          <p:cNvPr id="36" name="Right Brace 35">
            <a:extLst>
              <a:ext uri="{FF2B5EF4-FFF2-40B4-BE49-F238E27FC236}">
                <a16:creationId xmlns:a16="http://schemas.microsoft.com/office/drawing/2014/main" id="{19A440F9-84C7-4247-B1F8-04545493C2A9}"/>
              </a:ext>
            </a:extLst>
          </p:cNvPr>
          <p:cNvSpPr/>
          <p:nvPr/>
        </p:nvSpPr>
        <p:spPr>
          <a:xfrm>
            <a:off x="11885467" y="1966839"/>
            <a:ext cx="373032" cy="5477845"/>
          </a:xfrm>
          <a:prstGeom prst="rightBrace">
            <a:avLst>
              <a:gd name="adj1" fmla="val 167007"/>
              <a:gd name="adj2" fmla="val 49347"/>
            </a:avLst>
          </a:prstGeom>
          <a:noFill/>
          <a:ln w="28575" cap="flat" cmpd="sng" algn="ctr">
            <a:solidFill>
              <a:srgbClr val="006587"/>
            </a:solidFill>
            <a:prstDash val="solid"/>
            <a:miter lim="800000"/>
          </a:ln>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defTabSz="1097280">
              <a:defRPr/>
            </a:pPr>
            <a:endParaRPr lang="en-US" sz="1680" kern="0">
              <a:solidFill>
                <a:sysClr val="windowText" lastClr="000000"/>
              </a:solidFill>
            </a:endParaRPr>
          </a:p>
        </p:txBody>
      </p:sp>
      <p:sp>
        <p:nvSpPr>
          <p:cNvPr id="32" name="Rounded Rectangle 16">
            <a:extLst>
              <a:ext uri="{FF2B5EF4-FFF2-40B4-BE49-F238E27FC236}">
                <a16:creationId xmlns:a16="http://schemas.microsoft.com/office/drawing/2014/main" id="{67CDCED5-ECE3-4163-BC2F-70DB63592EA9}"/>
              </a:ext>
            </a:extLst>
          </p:cNvPr>
          <p:cNvSpPr/>
          <p:nvPr/>
        </p:nvSpPr>
        <p:spPr>
          <a:xfrm>
            <a:off x="12167763" y="1759652"/>
            <a:ext cx="1830889" cy="936070"/>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Inception Workshop</a:t>
            </a:r>
            <a:endPar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3BDA0AA0-AE58-4C4C-9F39-6293BA653253}"/>
              </a:ext>
            </a:extLst>
          </p:cNvPr>
          <p:cNvSpPr/>
          <p:nvPr/>
        </p:nvSpPr>
        <p:spPr>
          <a:xfrm>
            <a:off x="12444395" y="2871511"/>
            <a:ext cx="1395218" cy="1219050"/>
          </a:xfrm>
          <a:prstGeom prst="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Face-to-Face meetings</a:t>
            </a:r>
          </a:p>
        </p:txBody>
      </p:sp>
      <p:sp>
        <p:nvSpPr>
          <p:cNvPr id="38" name="Rectangle 37">
            <a:extLst>
              <a:ext uri="{FF2B5EF4-FFF2-40B4-BE49-F238E27FC236}">
                <a16:creationId xmlns:a16="http://schemas.microsoft.com/office/drawing/2014/main" id="{2F5EC490-4EF6-4782-8D84-8E7959E9AE96}"/>
              </a:ext>
            </a:extLst>
          </p:cNvPr>
          <p:cNvSpPr/>
          <p:nvPr/>
        </p:nvSpPr>
        <p:spPr>
          <a:xfrm>
            <a:off x="12444395" y="4266348"/>
            <a:ext cx="1398886" cy="1218528"/>
          </a:xfrm>
          <a:prstGeom prst="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spcAft>
                <a:spcPts val="1200"/>
              </a:spcAft>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Virtual Meetings</a:t>
            </a:r>
          </a:p>
        </p:txBody>
      </p:sp>
      <p:sp>
        <p:nvSpPr>
          <p:cNvPr id="39" name="Rectangle 38">
            <a:extLst>
              <a:ext uri="{FF2B5EF4-FFF2-40B4-BE49-F238E27FC236}">
                <a16:creationId xmlns:a16="http://schemas.microsoft.com/office/drawing/2014/main" id="{8D90F096-E1FB-4CCE-817B-2A7DF487DFD5}"/>
              </a:ext>
            </a:extLst>
          </p:cNvPr>
          <p:cNvSpPr/>
          <p:nvPr/>
        </p:nvSpPr>
        <p:spPr>
          <a:xfrm>
            <a:off x="12472344" y="5660663"/>
            <a:ext cx="1395218" cy="1218528"/>
          </a:xfrm>
          <a:prstGeom prst="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15000"/>
              </a:lnSpc>
              <a:defRPr/>
            </a:pPr>
            <a:r>
              <a:rPr lang="en-US" sz="1440" kern="0" dirty="0">
                <a:solidFill>
                  <a:srgbClr val="006587"/>
                </a:solidFill>
                <a:latin typeface="Arial" panose="020B0604020202020204" pitchFamily="34" charset="0"/>
                <a:ea typeface="Calibri" panose="020F0502020204030204" pitchFamily="34" charset="0"/>
                <a:cs typeface="Arial" panose="020B0604020202020204" pitchFamily="34" charset="0"/>
              </a:rPr>
              <a:t>Technical working groups</a:t>
            </a:r>
          </a:p>
        </p:txBody>
      </p:sp>
      <p:sp>
        <p:nvSpPr>
          <p:cNvPr id="40" name="Right Brace 39">
            <a:extLst>
              <a:ext uri="{FF2B5EF4-FFF2-40B4-BE49-F238E27FC236}">
                <a16:creationId xmlns:a16="http://schemas.microsoft.com/office/drawing/2014/main" id="{4BC087DB-CDE3-426B-915C-71A03A793445}"/>
              </a:ext>
            </a:extLst>
          </p:cNvPr>
          <p:cNvSpPr/>
          <p:nvPr/>
        </p:nvSpPr>
        <p:spPr>
          <a:xfrm>
            <a:off x="8655248" y="1883299"/>
            <a:ext cx="317548" cy="1271507"/>
          </a:xfrm>
          <a:prstGeom prst="rightBrace">
            <a:avLst>
              <a:gd name="adj1" fmla="val 49381"/>
              <a:gd name="adj2" fmla="val 50000"/>
            </a:avLst>
          </a:prstGeom>
          <a:noFill/>
          <a:ln w="31750" cap="flat" cmpd="sng" algn="ctr">
            <a:solidFill>
              <a:srgbClr val="AAD228"/>
            </a:solidFill>
            <a:prstDash val="solid"/>
            <a:miter lim="800000"/>
          </a:ln>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defTabSz="1097280">
              <a:defRPr/>
            </a:pPr>
            <a:endParaRPr lang="en-US" sz="1680" kern="0">
              <a:solidFill>
                <a:sysClr val="windowText" lastClr="000000"/>
              </a:solidFill>
            </a:endParaRPr>
          </a:p>
        </p:txBody>
      </p:sp>
      <p:sp>
        <p:nvSpPr>
          <p:cNvPr id="41" name="Right Brace 40">
            <a:extLst>
              <a:ext uri="{FF2B5EF4-FFF2-40B4-BE49-F238E27FC236}">
                <a16:creationId xmlns:a16="http://schemas.microsoft.com/office/drawing/2014/main" id="{CB997264-356F-4F46-918A-C558AA538927}"/>
              </a:ext>
            </a:extLst>
          </p:cNvPr>
          <p:cNvSpPr/>
          <p:nvPr/>
        </p:nvSpPr>
        <p:spPr>
          <a:xfrm>
            <a:off x="8690534" y="5660663"/>
            <a:ext cx="270966" cy="1692582"/>
          </a:xfrm>
          <a:prstGeom prst="rightBrace">
            <a:avLst>
              <a:gd name="adj1" fmla="val 79410"/>
              <a:gd name="adj2" fmla="val 50000"/>
            </a:avLst>
          </a:prstGeom>
          <a:noFill/>
          <a:ln w="31750" cap="flat" cmpd="sng" algn="ctr">
            <a:solidFill>
              <a:srgbClr val="FFC000"/>
            </a:solidFill>
            <a:prstDash val="solid"/>
            <a:miter lim="800000"/>
          </a:ln>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defTabSz="1097280">
              <a:defRPr/>
            </a:pPr>
            <a:endParaRPr lang="en-US" sz="1680" kern="0">
              <a:solidFill>
                <a:sysClr val="windowText" lastClr="000000"/>
              </a:solidFill>
            </a:endParaRPr>
          </a:p>
        </p:txBody>
      </p:sp>
      <p:sp>
        <p:nvSpPr>
          <p:cNvPr id="42" name="Right Brace 41">
            <a:extLst>
              <a:ext uri="{FF2B5EF4-FFF2-40B4-BE49-F238E27FC236}">
                <a16:creationId xmlns:a16="http://schemas.microsoft.com/office/drawing/2014/main" id="{1C900185-7EC2-4785-A733-4FA5FED4B0B2}"/>
              </a:ext>
            </a:extLst>
          </p:cNvPr>
          <p:cNvSpPr/>
          <p:nvPr/>
        </p:nvSpPr>
        <p:spPr>
          <a:xfrm>
            <a:off x="8664941" y="3366695"/>
            <a:ext cx="363338" cy="1864877"/>
          </a:xfrm>
          <a:prstGeom prst="rightBrace">
            <a:avLst>
              <a:gd name="adj1" fmla="val 69872"/>
              <a:gd name="adj2" fmla="val 50000"/>
            </a:avLst>
          </a:prstGeom>
          <a:noFill/>
          <a:ln w="28575" cap="flat" cmpd="sng" algn="ctr">
            <a:solidFill>
              <a:srgbClr val="5496B8"/>
            </a:solidFill>
            <a:prstDash val="solid"/>
            <a:miter lim="800000"/>
          </a:ln>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defTabSz="1097280">
              <a:defRPr/>
            </a:pPr>
            <a:endParaRPr lang="en-US" sz="1680" kern="0">
              <a:solidFill>
                <a:sysClr val="windowText" lastClr="000000"/>
              </a:solidFill>
            </a:endParaRPr>
          </a:p>
        </p:txBody>
      </p:sp>
      <p:sp>
        <p:nvSpPr>
          <p:cNvPr id="43" name="Rounded Rectangle 27">
            <a:extLst>
              <a:ext uri="{FF2B5EF4-FFF2-40B4-BE49-F238E27FC236}">
                <a16:creationId xmlns:a16="http://schemas.microsoft.com/office/drawing/2014/main" id="{0E697999-F610-48BD-84F5-BE25C7AEF82C}"/>
              </a:ext>
            </a:extLst>
          </p:cNvPr>
          <p:cNvSpPr/>
          <p:nvPr/>
        </p:nvSpPr>
        <p:spPr>
          <a:xfrm>
            <a:off x="4772371" y="1794449"/>
            <a:ext cx="1509251" cy="1271507"/>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defRPr/>
            </a:pPr>
            <a:r>
              <a:rPr lang="en-US"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Population Council</a:t>
            </a:r>
            <a:endParaRPr lang="en-US" sz="1440" kern="0" dirty="0">
              <a:solidFill>
                <a:srgbClr val="006587"/>
              </a:solidFill>
              <a:latin typeface="Arial" panose="020B0604020202020204" pitchFamily="34" charset="0"/>
              <a:ea typeface="Times New Roman" panose="02020603050405020304" pitchFamily="18" charset="0"/>
              <a:cs typeface="Arial" panose="020B0604020202020204" pitchFamily="34" charset="0"/>
            </a:endParaRPr>
          </a:p>
        </p:txBody>
      </p:sp>
      <p:sp>
        <p:nvSpPr>
          <p:cNvPr id="44" name="Rounded Rectangle 28">
            <a:extLst>
              <a:ext uri="{FF2B5EF4-FFF2-40B4-BE49-F238E27FC236}">
                <a16:creationId xmlns:a16="http://schemas.microsoft.com/office/drawing/2014/main" id="{8C1F5EC8-DD24-471D-AC49-17F7EC33A072}"/>
              </a:ext>
            </a:extLst>
          </p:cNvPr>
          <p:cNvSpPr/>
          <p:nvPr/>
        </p:nvSpPr>
        <p:spPr>
          <a:xfrm>
            <a:off x="4814294" y="3709296"/>
            <a:ext cx="1509251" cy="3352822"/>
          </a:xfrm>
          <a:prstGeom prst="roundRect">
            <a:avLst/>
          </a:prstGeom>
          <a:solidFill>
            <a:schemeClr val="bg1"/>
          </a:solidFill>
          <a:ln w="12700" cap="flat" cmpd="sng" algn="ctr">
            <a:noFill/>
            <a:prstDash val="solid"/>
            <a:miter lim="800000"/>
          </a:ln>
          <a:effectLst>
            <a:outerShdw blurRad="25400" algn="ctr" rotWithShape="0">
              <a:prstClr val="black">
                <a:alpha val="40000"/>
              </a:prstClr>
            </a:outerShdw>
          </a:effectLst>
        </p:spPr>
        <p:txBody>
          <a:bodyPr rot="0" spcFirstLastPara="0" vert="horz" wrap="square" lIns="109728" tIns="54864" rIns="109728" bIns="54864" numCol="1" spcCol="0" rtlCol="0" fromWordArt="0" anchor="ctr" anchorCtr="0" forceAA="0" compatLnSpc="1">
            <a:prstTxWarp prst="textNoShape">
              <a:avLst/>
            </a:prstTxWarp>
            <a:noAutofit/>
          </a:bodyPr>
          <a:lstStyle/>
          <a:p>
            <a:pPr algn="ctr" defTabSz="1097280">
              <a:lnSpc>
                <a:spcPct val="106000"/>
              </a:lnSpc>
              <a:spcAft>
                <a:spcPts val="960"/>
              </a:spcAft>
              <a:defRPr/>
            </a:pPr>
            <a:r>
              <a:rPr lang="en-GB"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Social Services</a:t>
            </a:r>
            <a:endParaRPr lang="en-US" sz="1440" kern="0" dirty="0">
              <a:solidFill>
                <a:srgbClr val="006587"/>
              </a:solidFill>
              <a:latin typeface="Arial" panose="020B0604020202020204" pitchFamily="34" charset="0"/>
              <a:ea typeface="Times New Roman" panose="02020603050405020304" pitchFamily="18" charset="0"/>
              <a:cs typeface="Arial" panose="020B0604020202020204" pitchFamily="34" charset="0"/>
            </a:endParaRPr>
          </a:p>
          <a:p>
            <a:pPr algn="ctr" defTabSz="1097280">
              <a:lnSpc>
                <a:spcPct val="106000"/>
              </a:lnSpc>
              <a:spcAft>
                <a:spcPts val="960"/>
              </a:spcAft>
              <a:defRPr/>
            </a:pPr>
            <a:r>
              <a:rPr lang="en-GB" sz="1440" b="1" kern="0" dirty="0" err="1">
                <a:solidFill>
                  <a:srgbClr val="006587"/>
                </a:solidFill>
                <a:latin typeface="Arial" panose="020B0604020202020204" pitchFamily="34" charset="0"/>
                <a:ea typeface="Calibri" panose="020F0502020204030204" pitchFamily="34" charset="0"/>
                <a:cs typeface="Arial" panose="020B0604020202020204" pitchFamily="34" charset="0"/>
              </a:rPr>
              <a:t>MoGCSW</a:t>
            </a:r>
            <a:r>
              <a:rPr lang="en-GB" sz="1440" b="1" kern="0" dirty="0">
                <a:solidFill>
                  <a:srgbClr val="006587"/>
                </a:solidFill>
                <a:latin typeface="Arial" panose="020B0604020202020204" pitchFamily="34" charset="0"/>
                <a:ea typeface="Calibri" panose="020F0502020204030204" pitchFamily="34" charset="0"/>
                <a:cs typeface="Arial" panose="020B0604020202020204" pitchFamily="34" charset="0"/>
              </a:rPr>
              <a:t>/Dept. of Social Welfare</a:t>
            </a:r>
            <a:endParaRPr lang="en-US" sz="1440" kern="0" dirty="0">
              <a:solidFill>
                <a:srgbClr val="006587"/>
              </a:solidFill>
              <a:latin typeface="Arial" panose="020B0604020202020204" pitchFamily="34" charset="0"/>
              <a:ea typeface="Times New Roman" panose="02020603050405020304" pitchFamily="18" charset="0"/>
              <a:cs typeface="Arial" panose="020B0604020202020204" pitchFamily="34" charset="0"/>
            </a:endParaRPr>
          </a:p>
        </p:txBody>
      </p:sp>
      <p:cxnSp>
        <p:nvCxnSpPr>
          <p:cNvPr id="45" name="Straight Arrow Connector 44">
            <a:extLst>
              <a:ext uri="{FF2B5EF4-FFF2-40B4-BE49-F238E27FC236}">
                <a16:creationId xmlns:a16="http://schemas.microsoft.com/office/drawing/2014/main" id="{D6B6C877-6485-4BFA-86F0-694014D79D28}"/>
              </a:ext>
            </a:extLst>
          </p:cNvPr>
          <p:cNvCxnSpPr/>
          <p:nvPr/>
        </p:nvCxnSpPr>
        <p:spPr>
          <a:xfrm flipV="1">
            <a:off x="6281621" y="2395405"/>
            <a:ext cx="614880" cy="0"/>
          </a:xfrm>
          <a:prstGeom prst="straightConnector1">
            <a:avLst/>
          </a:prstGeom>
          <a:noFill/>
          <a:ln w="19050" cap="flat" cmpd="sng" algn="ctr">
            <a:solidFill>
              <a:srgbClr val="70AD47"/>
            </a:solidFill>
            <a:prstDash val="solid"/>
            <a:miter lim="800000"/>
            <a:tailEnd type="triangle"/>
          </a:ln>
          <a:effectLst/>
        </p:spPr>
      </p:cxnSp>
      <p:cxnSp>
        <p:nvCxnSpPr>
          <p:cNvPr id="46" name="Straight Arrow Connector 45">
            <a:extLst>
              <a:ext uri="{FF2B5EF4-FFF2-40B4-BE49-F238E27FC236}">
                <a16:creationId xmlns:a16="http://schemas.microsoft.com/office/drawing/2014/main" id="{ED5109D4-BB23-4AFD-A542-9142C041D4C6}"/>
              </a:ext>
            </a:extLst>
          </p:cNvPr>
          <p:cNvCxnSpPr>
            <a:cxnSpLocks/>
          </p:cNvCxnSpPr>
          <p:nvPr/>
        </p:nvCxnSpPr>
        <p:spPr>
          <a:xfrm>
            <a:off x="6297025" y="2430725"/>
            <a:ext cx="599474" cy="1835623"/>
          </a:xfrm>
          <a:prstGeom prst="straightConnector1">
            <a:avLst/>
          </a:prstGeom>
          <a:noFill/>
          <a:ln w="19050" cap="flat" cmpd="sng" algn="ctr">
            <a:solidFill>
              <a:srgbClr val="70AD47"/>
            </a:solidFill>
            <a:prstDash val="solid"/>
            <a:miter lim="800000"/>
            <a:tailEnd type="triangle"/>
          </a:ln>
          <a:effectLst/>
        </p:spPr>
      </p:cxnSp>
      <p:cxnSp>
        <p:nvCxnSpPr>
          <p:cNvPr id="47" name="Straight Arrow Connector 46">
            <a:extLst>
              <a:ext uri="{FF2B5EF4-FFF2-40B4-BE49-F238E27FC236}">
                <a16:creationId xmlns:a16="http://schemas.microsoft.com/office/drawing/2014/main" id="{F042BC11-D56B-48A1-8558-EB4ED88069AD}"/>
              </a:ext>
            </a:extLst>
          </p:cNvPr>
          <p:cNvCxnSpPr>
            <a:cxnSpLocks/>
          </p:cNvCxnSpPr>
          <p:nvPr/>
        </p:nvCxnSpPr>
        <p:spPr>
          <a:xfrm>
            <a:off x="5568919" y="3065956"/>
            <a:ext cx="0" cy="643340"/>
          </a:xfrm>
          <a:prstGeom prst="straightConnector1">
            <a:avLst/>
          </a:prstGeom>
          <a:noFill/>
          <a:ln w="19050" cap="flat" cmpd="sng" algn="ctr">
            <a:solidFill>
              <a:srgbClr val="70AD47"/>
            </a:solidFill>
            <a:prstDash val="solid"/>
            <a:miter lim="800000"/>
            <a:headEnd type="triangle"/>
            <a:tailEnd type="triangle"/>
          </a:ln>
          <a:effectLst/>
        </p:spPr>
      </p:cxnSp>
      <p:cxnSp>
        <p:nvCxnSpPr>
          <p:cNvPr id="48" name="Straight Arrow Connector 47">
            <a:extLst>
              <a:ext uri="{FF2B5EF4-FFF2-40B4-BE49-F238E27FC236}">
                <a16:creationId xmlns:a16="http://schemas.microsoft.com/office/drawing/2014/main" id="{9381B6C3-3B9F-4B40-BE1B-DF8197330FEE}"/>
              </a:ext>
            </a:extLst>
          </p:cNvPr>
          <p:cNvCxnSpPr>
            <a:cxnSpLocks/>
          </p:cNvCxnSpPr>
          <p:nvPr/>
        </p:nvCxnSpPr>
        <p:spPr>
          <a:xfrm>
            <a:off x="6336792" y="6426364"/>
            <a:ext cx="559708" cy="0"/>
          </a:xfrm>
          <a:prstGeom prst="straightConnector1">
            <a:avLst/>
          </a:prstGeom>
          <a:noFill/>
          <a:ln w="19050" cap="flat" cmpd="sng" algn="ctr">
            <a:solidFill>
              <a:srgbClr val="FFC000"/>
            </a:solidFill>
            <a:prstDash val="solid"/>
            <a:miter lim="800000"/>
            <a:headEnd type="triangle"/>
            <a:tailEnd type="triangle"/>
          </a:ln>
          <a:effectLst/>
        </p:spPr>
      </p:cxnSp>
      <p:cxnSp>
        <p:nvCxnSpPr>
          <p:cNvPr id="49" name="Straight Arrow Connector 48">
            <a:extLst>
              <a:ext uri="{FF2B5EF4-FFF2-40B4-BE49-F238E27FC236}">
                <a16:creationId xmlns:a16="http://schemas.microsoft.com/office/drawing/2014/main" id="{B948E499-EDFE-450E-B561-568C756920A7}"/>
              </a:ext>
            </a:extLst>
          </p:cNvPr>
          <p:cNvCxnSpPr>
            <a:cxnSpLocks/>
          </p:cNvCxnSpPr>
          <p:nvPr/>
        </p:nvCxnSpPr>
        <p:spPr>
          <a:xfrm flipH="1">
            <a:off x="6336089" y="4351011"/>
            <a:ext cx="560411" cy="733943"/>
          </a:xfrm>
          <a:prstGeom prst="straightConnector1">
            <a:avLst/>
          </a:prstGeom>
          <a:noFill/>
          <a:ln w="19050" cap="flat" cmpd="sng" algn="ctr">
            <a:solidFill>
              <a:srgbClr val="5496B8"/>
            </a:solidFill>
            <a:prstDash val="solid"/>
            <a:miter lim="800000"/>
            <a:headEnd type="triangle"/>
            <a:tailEnd type="triangle"/>
          </a:ln>
          <a:effectLst/>
        </p:spPr>
      </p:cxnSp>
      <p:sp>
        <p:nvSpPr>
          <p:cNvPr id="50" name="Text Placeholder 6">
            <a:extLst>
              <a:ext uri="{FF2B5EF4-FFF2-40B4-BE49-F238E27FC236}">
                <a16:creationId xmlns:a16="http://schemas.microsoft.com/office/drawing/2014/main" id="{6ACF2EFF-798B-4523-AE33-AE0C4C6D8DD6}"/>
              </a:ext>
            </a:extLst>
          </p:cNvPr>
          <p:cNvSpPr txBox="1">
            <a:spLocks/>
          </p:cNvSpPr>
          <p:nvPr/>
        </p:nvSpPr>
        <p:spPr>
          <a:xfrm>
            <a:off x="377468" y="1547374"/>
            <a:ext cx="3988276" cy="5625007"/>
          </a:xfrm>
          <a:prstGeom prst="foldedCorner">
            <a:avLst/>
          </a:prstGeom>
          <a:solidFill>
            <a:srgbClr val="C4DBE6"/>
          </a:solidFill>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endParaRPr lang="en-US" sz="1680" dirty="0">
              <a:solidFill>
                <a:srgbClr val="006587"/>
              </a:solidFill>
            </a:endParaRPr>
          </a:p>
          <a:p>
            <a:pPr>
              <a:lnSpc>
                <a:spcPct val="120000"/>
              </a:lnSpc>
            </a:pPr>
            <a:endParaRPr lang="en-US" sz="1680" dirty="0">
              <a:solidFill>
                <a:srgbClr val="006587"/>
              </a:solidFill>
            </a:endParaRPr>
          </a:p>
          <a:p>
            <a:pPr>
              <a:lnSpc>
                <a:spcPct val="120000"/>
              </a:lnSpc>
            </a:pPr>
            <a:r>
              <a:rPr lang="en-US" sz="1680" dirty="0">
                <a:solidFill>
                  <a:srgbClr val="006587"/>
                </a:solidFill>
              </a:rPr>
              <a:t>A multilayer stakeholder engagement and consultative approach. </a:t>
            </a:r>
          </a:p>
          <a:p>
            <a:pPr>
              <a:lnSpc>
                <a:spcPct val="120000"/>
              </a:lnSpc>
            </a:pPr>
            <a:r>
              <a:rPr lang="en-US" sz="1680" dirty="0">
                <a:solidFill>
                  <a:srgbClr val="006587"/>
                </a:solidFill>
              </a:rPr>
              <a:t>A three-tier architectural structure design is adopted for the work. </a:t>
            </a:r>
          </a:p>
          <a:p>
            <a:pPr marL="411480" indent="-411480">
              <a:lnSpc>
                <a:spcPct val="120000"/>
              </a:lnSpc>
              <a:buFont typeface="+mj-lt"/>
              <a:buAutoNum type="arabicPeriod"/>
            </a:pPr>
            <a:r>
              <a:rPr lang="en-US" sz="1680" dirty="0">
                <a:solidFill>
                  <a:srgbClr val="006587"/>
                </a:solidFill>
              </a:rPr>
              <a:t>A core research team: responsible for drafting and production of documents and reports for the project. </a:t>
            </a:r>
          </a:p>
          <a:p>
            <a:pPr marL="411480" indent="-411480">
              <a:lnSpc>
                <a:spcPct val="120000"/>
              </a:lnSpc>
              <a:buFont typeface="+mj-lt"/>
              <a:buAutoNum type="arabicPeriod"/>
            </a:pPr>
            <a:r>
              <a:rPr lang="en-US" sz="1680" dirty="0">
                <a:solidFill>
                  <a:srgbClr val="006587"/>
                </a:solidFill>
              </a:rPr>
              <a:t>A technical working group: responsible for assisting the core research team with relevant information and data as well as making key input to the draft reports and documents. </a:t>
            </a:r>
          </a:p>
        </p:txBody>
      </p:sp>
      <p:sp>
        <p:nvSpPr>
          <p:cNvPr id="64" name="Right Triangle 63">
            <a:extLst>
              <a:ext uri="{FF2B5EF4-FFF2-40B4-BE49-F238E27FC236}">
                <a16:creationId xmlns:a16="http://schemas.microsoft.com/office/drawing/2014/main" id="{D060CFC1-52DE-4675-A619-D45B9E3C92CC}"/>
              </a:ext>
            </a:extLst>
          </p:cNvPr>
          <p:cNvSpPr/>
          <p:nvPr/>
        </p:nvSpPr>
        <p:spPr>
          <a:xfrm flipH="1">
            <a:off x="13578840" y="3799262"/>
            <a:ext cx="260773" cy="291298"/>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5" name="Right Triangle 64">
            <a:extLst>
              <a:ext uri="{FF2B5EF4-FFF2-40B4-BE49-F238E27FC236}">
                <a16:creationId xmlns:a16="http://schemas.microsoft.com/office/drawing/2014/main" id="{252EA6C6-E963-4C6E-A6AC-FDA6B39DE2E9}"/>
              </a:ext>
            </a:extLst>
          </p:cNvPr>
          <p:cNvSpPr/>
          <p:nvPr/>
        </p:nvSpPr>
        <p:spPr>
          <a:xfrm flipH="1">
            <a:off x="13578840" y="5193578"/>
            <a:ext cx="260773" cy="291298"/>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7" name="Right Triangle 66">
            <a:extLst>
              <a:ext uri="{FF2B5EF4-FFF2-40B4-BE49-F238E27FC236}">
                <a16:creationId xmlns:a16="http://schemas.microsoft.com/office/drawing/2014/main" id="{5A4C2277-2383-4CF5-8DE7-169C30956995}"/>
              </a:ext>
            </a:extLst>
          </p:cNvPr>
          <p:cNvSpPr/>
          <p:nvPr/>
        </p:nvSpPr>
        <p:spPr>
          <a:xfrm flipH="1">
            <a:off x="13606790" y="6587893"/>
            <a:ext cx="260773" cy="291298"/>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sp>
        <p:nvSpPr>
          <p:cNvPr id="69" name="Freeform: Shape 68">
            <a:extLst>
              <a:ext uri="{FF2B5EF4-FFF2-40B4-BE49-F238E27FC236}">
                <a16:creationId xmlns:a16="http://schemas.microsoft.com/office/drawing/2014/main" id="{713F51D8-E8A5-4169-B14D-16FC248E2B1D}"/>
              </a:ext>
            </a:extLst>
          </p:cNvPr>
          <p:cNvSpPr/>
          <p:nvPr/>
        </p:nvSpPr>
        <p:spPr>
          <a:xfrm flipH="1">
            <a:off x="5958547" y="2679069"/>
            <a:ext cx="323075" cy="386887"/>
          </a:xfrm>
          <a:custGeom>
            <a:avLst/>
            <a:gdLst>
              <a:gd name="connsiteX0" fmla="*/ 0 w 269229"/>
              <a:gd name="connsiteY0" fmla="*/ 0 h 322406"/>
              <a:gd name="connsiteX1" fmla="*/ 0 w 269229"/>
              <a:gd name="connsiteY1" fmla="*/ 145804 h 322406"/>
              <a:gd name="connsiteX2" fmla="*/ 176602 w 269229"/>
              <a:gd name="connsiteY2" fmla="*/ 322406 h 322406"/>
              <a:gd name="connsiteX3" fmla="*/ 269229 w 269229"/>
              <a:gd name="connsiteY3" fmla="*/ 322406 h 322406"/>
              <a:gd name="connsiteX4" fmla="*/ 0 w 269229"/>
              <a:gd name="connsiteY4" fmla="*/ 0 h 32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229" h="322406">
                <a:moveTo>
                  <a:pt x="0" y="0"/>
                </a:moveTo>
                <a:lnTo>
                  <a:pt x="0" y="145804"/>
                </a:lnTo>
                <a:cubicBezTo>
                  <a:pt x="0" y="243339"/>
                  <a:pt x="79067" y="322406"/>
                  <a:pt x="176602" y="322406"/>
                </a:cubicBezTo>
                <a:lnTo>
                  <a:pt x="269229" y="322406"/>
                </a:lnTo>
                <a:lnTo>
                  <a:pt x="0" y="0"/>
                </a:lnTo>
                <a:close/>
              </a:path>
            </a:pathLst>
          </a:cu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0" name="Freeform: Shape 69">
            <a:extLst>
              <a:ext uri="{FF2B5EF4-FFF2-40B4-BE49-F238E27FC236}">
                <a16:creationId xmlns:a16="http://schemas.microsoft.com/office/drawing/2014/main" id="{0E1FF840-3829-4081-A9DB-69A66AE52C98}"/>
              </a:ext>
            </a:extLst>
          </p:cNvPr>
          <p:cNvSpPr/>
          <p:nvPr/>
        </p:nvSpPr>
        <p:spPr>
          <a:xfrm flipH="1">
            <a:off x="11422900" y="4351010"/>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1" name="Freeform: Shape 70">
            <a:extLst>
              <a:ext uri="{FF2B5EF4-FFF2-40B4-BE49-F238E27FC236}">
                <a16:creationId xmlns:a16="http://schemas.microsoft.com/office/drawing/2014/main" id="{00AC08C3-C19F-4267-8344-F09E29CA2873}"/>
              </a:ext>
            </a:extLst>
          </p:cNvPr>
          <p:cNvSpPr/>
          <p:nvPr/>
        </p:nvSpPr>
        <p:spPr>
          <a:xfrm flipH="1">
            <a:off x="8144977" y="4456100"/>
            <a:ext cx="387974" cy="464608"/>
          </a:xfrm>
          <a:custGeom>
            <a:avLst/>
            <a:gdLst>
              <a:gd name="connsiteX0" fmla="*/ 0 w 323312"/>
              <a:gd name="connsiteY0" fmla="*/ 0 h 387173"/>
              <a:gd name="connsiteX1" fmla="*/ 0 w 323312"/>
              <a:gd name="connsiteY1" fmla="*/ 210571 h 387173"/>
              <a:gd name="connsiteX2" fmla="*/ 176602 w 323312"/>
              <a:gd name="connsiteY2" fmla="*/ 387173 h 387173"/>
              <a:gd name="connsiteX3" fmla="*/ 323312 w 323312"/>
              <a:gd name="connsiteY3" fmla="*/ 387173 h 387173"/>
              <a:gd name="connsiteX4" fmla="*/ 0 w 323312"/>
              <a:gd name="connsiteY4" fmla="*/ 0 h 387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12" h="387173">
                <a:moveTo>
                  <a:pt x="0" y="0"/>
                </a:moveTo>
                <a:lnTo>
                  <a:pt x="0" y="210571"/>
                </a:lnTo>
                <a:cubicBezTo>
                  <a:pt x="0" y="308106"/>
                  <a:pt x="79067" y="387173"/>
                  <a:pt x="176602" y="387173"/>
                </a:cubicBezTo>
                <a:lnTo>
                  <a:pt x="323312" y="387173"/>
                </a:lnTo>
                <a:lnTo>
                  <a:pt x="0" y="0"/>
                </a:lnTo>
                <a:close/>
              </a:path>
            </a:pathLst>
          </a:cu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2" name="Freeform: Shape 71">
            <a:extLst>
              <a:ext uri="{FF2B5EF4-FFF2-40B4-BE49-F238E27FC236}">
                <a16:creationId xmlns:a16="http://schemas.microsoft.com/office/drawing/2014/main" id="{465A1F05-BDFC-40AC-9867-B86D9A66D43A}"/>
              </a:ext>
            </a:extLst>
          </p:cNvPr>
          <p:cNvSpPr/>
          <p:nvPr/>
        </p:nvSpPr>
        <p:spPr>
          <a:xfrm flipH="1">
            <a:off x="8193822" y="6656003"/>
            <a:ext cx="339130" cy="406115"/>
          </a:xfrm>
          <a:custGeom>
            <a:avLst/>
            <a:gdLst>
              <a:gd name="connsiteX0" fmla="*/ 0 w 282608"/>
              <a:gd name="connsiteY0" fmla="*/ 0 h 338429"/>
              <a:gd name="connsiteX1" fmla="*/ 0 w 282608"/>
              <a:gd name="connsiteY1" fmla="*/ 161827 h 338429"/>
              <a:gd name="connsiteX2" fmla="*/ 176602 w 282608"/>
              <a:gd name="connsiteY2" fmla="*/ 338429 h 338429"/>
              <a:gd name="connsiteX3" fmla="*/ 282608 w 282608"/>
              <a:gd name="connsiteY3" fmla="*/ 338429 h 338429"/>
              <a:gd name="connsiteX4" fmla="*/ 0 w 282608"/>
              <a:gd name="connsiteY4" fmla="*/ 0 h 338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608" h="338429">
                <a:moveTo>
                  <a:pt x="0" y="0"/>
                </a:moveTo>
                <a:lnTo>
                  <a:pt x="0" y="161827"/>
                </a:lnTo>
                <a:cubicBezTo>
                  <a:pt x="0" y="259362"/>
                  <a:pt x="79067" y="338429"/>
                  <a:pt x="176602" y="338429"/>
                </a:cubicBezTo>
                <a:lnTo>
                  <a:pt x="282608" y="338429"/>
                </a:lnTo>
                <a:lnTo>
                  <a:pt x="0" y="0"/>
                </a:lnTo>
                <a:close/>
              </a:path>
            </a:pathLst>
          </a:custGeom>
          <a:solidFill>
            <a:schemeClr val="accent4">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3" name="Freeform: Shape 72">
            <a:extLst>
              <a:ext uri="{FF2B5EF4-FFF2-40B4-BE49-F238E27FC236}">
                <a16:creationId xmlns:a16="http://schemas.microsoft.com/office/drawing/2014/main" id="{CE4B645D-AC8E-4B9B-B004-292DAB280041}"/>
              </a:ext>
            </a:extLst>
          </p:cNvPr>
          <p:cNvSpPr/>
          <p:nvPr/>
        </p:nvSpPr>
        <p:spPr>
          <a:xfrm flipH="1">
            <a:off x="6016788" y="6694773"/>
            <a:ext cx="306756" cy="367345"/>
          </a:xfrm>
          <a:custGeom>
            <a:avLst/>
            <a:gdLst>
              <a:gd name="connsiteX0" fmla="*/ 0 w 255630"/>
              <a:gd name="connsiteY0" fmla="*/ 0 h 306121"/>
              <a:gd name="connsiteX1" fmla="*/ 0 w 255630"/>
              <a:gd name="connsiteY1" fmla="*/ 96499 h 306121"/>
              <a:gd name="connsiteX2" fmla="*/ 209622 w 255630"/>
              <a:gd name="connsiteY2" fmla="*/ 306121 h 306121"/>
              <a:gd name="connsiteX3" fmla="*/ 255630 w 255630"/>
              <a:gd name="connsiteY3" fmla="*/ 306121 h 306121"/>
              <a:gd name="connsiteX4" fmla="*/ 0 w 255630"/>
              <a:gd name="connsiteY4" fmla="*/ 0 h 306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630" h="306121">
                <a:moveTo>
                  <a:pt x="0" y="0"/>
                </a:moveTo>
                <a:lnTo>
                  <a:pt x="0" y="96499"/>
                </a:lnTo>
                <a:cubicBezTo>
                  <a:pt x="0" y="212270"/>
                  <a:pt x="93851" y="306121"/>
                  <a:pt x="209622" y="306121"/>
                </a:cubicBezTo>
                <a:lnTo>
                  <a:pt x="255630" y="306121"/>
                </a:lnTo>
                <a:lnTo>
                  <a:pt x="0" y="0"/>
                </a:lnTo>
                <a:close/>
              </a:path>
            </a:pathLst>
          </a:cu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4" name="Freeform: Shape 73">
            <a:extLst>
              <a:ext uri="{FF2B5EF4-FFF2-40B4-BE49-F238E27FC236}">
                <a16:creationId xmlns:a16="http://schemas.microsoft.com/office/drawing/2014/main" id="{AF0B46DA-2A35-4A05-BD5F-AED05C6AB3E4}"/>
              </a:ext>
            </a:extLst>
          </p:cNvPr>
          <p:cNvSpPr/>
          <p:nvPr/>
        </p:nvSpPr>
        <p:spPr>
          <a:xfrm flipH="1">
            <a:off x="8079221" y="2563971"/>
            <a:ext cx="390131" cy="467188"/>
          </a:xfrm>
          <a:custGeom>
            <a:avLst/>
            <a:gdLst>
              <a:gd name="connsiteX0" fmla="*/ 0 w 325109"/>
              <a:gd name="connsiteY0" fmla="*/ 0 h 389323"/>
              <a:gd name="connsiteX1" fmla="*/ 0 w 325109"/>
              <a:gd name="connsiteY1" fmla="*/ 212721 h 389323"/>
              <a:gd name="connsiteX2" fmla="*/ 176602 w 325109"/>
              <a:gd name="connsiteY2" fmla="*/ 389323 h 389323"/>
              <a:gd name="connsiteX3" fmla="*/ 325109 w 325109"/>
              <a:gd name="connsiteY3" fmla="*/ 389323 h 389323"/>
              <a:gd name="connsiteX4" fmla="*/ 0 w 325109"/>
              <a:gd name="connsiteY4" fmla="*/ 0 h 389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09" h="389323">
                <a:moveTo>
                  <a:pt x="0" y="0"/>
                </a:moveTo>
                <a:lnTo>
                  <a:pt x="0" y="212721"/>
                </a:lnTo>
                <a:cubicBezTo>
                  <a:pt x="0" y="310256"/>
                  <a:pt x="79067" y="389323"/>
                  <a:pt x="176602" y="389323"/>
                </a:cubicBezTo>
                <a:lnTo>
                  <a:pt x="325109" y="389323"/>
                </a:lnTo>
                <a:lnTo>
                  <a:pt x="0" y="0"/>
                </a:lnTo>
                <a:close/>
              </a:path>
            </a:pathLst>
          </a:cu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6" name="Freeform: Shape 75">
            <a:extLst>
              <a:ext uri="{FF2B5EF4-FFF2-40B4-BE49-F238E27FC236}">
                <a16:creationId xmlns:a16="http://schemas.microsoft.com/office/drawing/2014/main" id="{48948D27-575E-4AFD-9C09-AABE7F9460A1}"/>
              </a:ext>
            </a:extLst>
          </p:cNvPr>
          <p:cNvSpPr/>
          <p:nvPr/>
        </p:nvSpPr>
        <p:spPr>
          <a:xfrm flipH="1">
            <a:off x="13739949" y="2385918"/>
            <a:ext cx="258704" cy="309804"/>
          </a:xfrm>
          <a:custGeom>
            <a:avLst/>
            <a:gdLst>
              <a:gd name="connsiteX0" fmla="*/ 0 w 215587"/>
              <a:gd name="connsiteY0" fmla="*/ 0 h 258170"/>
              <a:gd name="connsiteX1" fmla="*/ 0 w 215587"/>
              <a:gd name="connsiteY1" fmla="*/ 128158 h 258170"/>
              <a:gd name="connsiteX2" fmla="*/ 130012 w 215587"/>
              <a:gd name="connsiteY2" fmla="*/ 258170 h 258170"/>
              <a:gd name="connsiteX3" fmla="*/ 215587 w 215587"/>
              <a:gd name="connsiteY3" fmla="*/ 258170 h 258170"/>
              <a:gd name="connsiteX4" fmla="*/ 0 w 215587"/>
              <a:gd name="connsiteY4" fmla="*/ 0 h 258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587" h="258170">
                <a:moveTo>
                  <a:pt x="0" y="0"/>
                </a:moveTo>
                <a:lnTo>
                  <a:pt x="0" y="128158"/>
                </a:lnTo>
                <a:cubicBezTo>
                  <a:pt x="0" y="199962"/>
                  <a:pt x="58208" y="258170"/>
                  <a:pt x="130012" y="258170"/>
                </a:cubicBezTo>
                <a:lnTo>
                  <a:pt x="215587" y="25817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79" name="Freeform: Shape 78">
            <a:extLst>
              <a:ext uri="{FF2B5EF4-FFF2-40B4-BE49-F238E27FC236}">
                <a16:creationId xmlns:a16="http://schemas.microsoft.com/office/drawing/2014/main" id="{16464E3B-E352-4964-A4DF-D57969E924A6}"/>
              </a:ext>
            </a:extLst>
          </p:cNvPr>
          <p:cNvSpPr/>
          <p:nvPr/>
        </p:nvSpPr>
        <p:spPr>
          <a:xfrm flipH="1">
            <a:off x="11422900" y="5068583"/>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80" name="Freeform: Shape 79">
            <a:extLst>
              <a:ext uri="{FF2B5EF4-FFF2-40B4-BE49-F238E27FC236}">
                <a16:creationId xmlns:a16="http://schemas.microsoft.com/office/drawing/2014/main" id="{1461FA34-ED2D-4E01-A05E-337CCAAE2CF5}"/>
              </a:ext>
            </a:extLst>
          </p:cNvPr>
          <p:cNvSpPr/>
          <p:nvPr/>
        </p:nvSpPr>
        <p:spPr>
          <a:xfrm flipH="1">
            <a:off x="11422900" y="5812463"/>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chemeClr val="accent4">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81" name="Freeform: Shape 80">
            <a:extLst>
              <a:ext uri="{FF2B5EF4-FFF2-40B4-BE49-F238E27FC236}">
                <a16:creationId xmlns:a16="http://schemas.microsoft.com/office/drawing/2014/main" id="{F2CDD0CE-F14E-4E7F-9B14-894EE0CFC99D}"/>
              </a:ext>
            </a:extLst>
          </p:cNvPr>
          <p:cNvSpPr/>
          <p:nvPr/>
        </p:nvSpPr>
        <p:spPr>
          <a:xfrm flipH="1">
            <a:off x="11422900" y="6539718"/>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chemeClr val="accent4">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82" name="Freeform: Shape 81">
            <a:extLst>
              <a:ext uri="{FF2B5EF4-FFF2-40B4-BE49-F238E27FC236}">
                <a16:creationId xmlns:a16="http://schemas.microsoft.com/office/drawing/2014/main" id="{F21F8304-1DF7-43D3-A6D8-C5FF3BC7E7F0}"/>
              </a:ext>
            </a:extLst>
          </p:cNvPr>
          <p:cNvSpPr/>
          <p:nvPr/>
        </p:nvSpPr>
        <p:spPr>
          <a:xfrm flipH="1">
            <a:off x="11422900" y="7172381"/>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chemeClr val="accent4">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83" name="Freeform: Shape 82">
            <a:extLst>
              <a:ext uri="{FF2B5EF4-FFF2-40B4-BE49-F238E27FC236}">
                <a16:creationId xmlns:a16="http://schemas.microsoft.com/office/drawing/2014/main" id="{CD67DA7A-9F86-4953-A5CF-FAFF43D3AA4B}"/>
              </a:ext>
            </a:extLst>
          </p:cNvPr>
          <p:cNvSpPr/>
          <p:nvPr/>
        </p:nvSpPr>
        <p:spPr>
          <a:xfrm flipH="1">
            <a:off x="11422900" y="3714992"/>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84" name="Freeform: Shape 83">
            <a:extLst>
              <a:ext uri="{FF2B5EF4-FFF2-40B4-BE49-F238E27FC236}">
                <a16:creationId xmlns:a16="http://schemas.microsoft.com/office/drawing/2014/main" id="{663197F8-EB09-4E3A-BBC5-9D5207E345DD}"/>
              </a:ext>
            </a:extLst>
          </p:cNvPr>
          <p:cNvSpPr/>
          <p:nvPr/>
        </p:nvSpPr>
        <p:spPr>
          <a:xfrm flipH="1">
            <a:off x="11422900" y="2850294"/>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sp>
        <p:nvSpPr>
          <p:cNvPr id="85" name="Freeform: Shape 84">
            <a:extLst>
              <a:ext uri="{FF2B5EF4-FFF2-40B4-BE49-F238E27FC236}">
                <a16:creationId xmlns:a16="http://schemas.microsoft.com/office/drawing/2014/main" id="{94F9AE81-171C-4603-9E5B-4D32370B2FF4}"/>
              </a:ext>
            </a:extLst>
          </p:cNvPr>
          <p:cNvSpPr/>
          <p:nvPr/>
        </p:nvSpPr>
        <p:spPr>
          <a:xfrm flipH="1">
            <a:off x="11422900" y="2072630"/>
            <a:ext cx="189980" cy="180864"/>
          </a:xfrm>
          <a:custGeom>
            <a:avLst/>
            <a:gdLst>
              <a:gd name="connsiteX0" fmla="*/ 0 w 158317"/>
              <a:gd name="connsiteY0" fmla="*/ 0 h 150720"/>
              <a:gd name="connsiteX1" fmla="*/ 0 w 158317"/>
              <a:gd name="connsiteY1" fmla="*/ 82129 h 150720"/>
              <a:gd name="connsiteX2" fmla="*/ 68591 w 158317"/>
              <a:gd name="connsiteY2" fmla="*/ 150720 h 150720"/>
              <a:gd name="connsiteX3" fmla="*/ 158317 w 158317"/>
              <a:gd name="connsiteY3" fmla="*/ 150720 h 150720"/>
              <a:gd name="connsiteX4" fmla="*/ 0 w 158317"/>
              <a:gd name="connsiteY4" fmla="*/ 0 h 15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17" h="150720">
                <a:moveTo>
                  <a:pt x="0" y="0"/>
                </a:moveTo>
                <a:lnTo>
                  <a:pt x="0" y="82129"/>
                </a:lnTo>
                <a:cubicBezTo>
                  <a:pt x="0" y="120011"/>
                  <a:pt x="30709" y="150720"/>
                  <a:pt x="68591" y="150720"/>
                </a:cubicBezTo>
                <a:lnTo>
                  <a:pt x="158317" y="150720"/>
                </a:lnTo>
                <a:lnTo>
                  <a:pt x="0" y="0"/>
                </a:lnTo>
                <a:close/>
              </a:path>
            </a:pathLst>
          </a:custGeom>
          <a:solidFill>
            <a:srgbClr val="AAD22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160"/>
          </a:p>
        </p:txBody>
      </p:sp>
      <p:cxnSp>
        <p:nvCxnSpPr>
          <p:cNvPr id="52" name="Straight Arrow Connector 51">
            <a:extLst>
              <a:ext uri="{FF2B5EF4-FFF2-40B4-BE49-F238E27FC236}">
                <a16:creationId xmlns:a16="http://schemas.microsoft.com/office/drawing/2014/main" id="{9381B6C3-3B9F-4B40-BE1B-DF8197330FEE}"/>
              </a:ext>
            </a:extLst>
          </p:cNvPr>
          <p:cNvCxnSpPr>
            <a:cxnSpLocks/>
            <a:stCxn id="25" idx="2"/>
            <a:endCxn id="26" idx="0"/>
          </p:cNvCxnSpPr>
          <p:nvPr/>
        </p:nvCxnSpPr>
        <p:spPr>
          <a:xfrm>
            <a:off x="7714727" y="4920707"/>
            <a:ext cx="0" cy="869904"/>
          </a:xfrm>
          <a:prstGeom prst="straightConnector1">
            <a:avLst/>
          </a:prstGeom>
          <a:noFill/>
          <a:ln w="19050" cap="flat" cmpd="sng" algn="ctr">
            <a:solidFill>
              <a:srgbClr val="FFC000"/>
            </a:solidFill>
            <a:prstDash val="solid"/>
            <a:miter lim="800000"/>
            <a:headEnd type="triangle"/>
            <a:tailEnd type="triangle"/>
          </a:ln>
          <a:effectLst/>
        </p:spPr>
      </p:cxnSp>
      <p:sp>
        <p:nvSpPr>
          <p:cNvPr id="3" name="Rectangle 2"/>
          <p:cNvSpPr/>
          <p:nvPr/>
        </p:nvSpPr>
        <p:spPr>
          <a:xfrm>
            <a:off x="4440439" y="1116312"/>
            <a:ext cx="7395794" cy="350865"/>
          </a:xfrm>
          <a:prstGeom prst="rect">
            <a:avLst/>
          </a:prstGeom>
          <a:solidFill>
            <a:schemeClr val="tx2">
              <a:lumMod val="20000"/>
              <a:lumOff val="80000"/>
            </a:schemeClr>
          </a:solidFill>
        </p:spPr>
        <p:txBody>
          <a:bodyPr wrap="square">
            <a:spAutoFit/>
          </a:bodyPr>
          <a:lstStyle/>
          <a:p>
            <a:r>
              <a:rPr lang="en-US" sz="1680" dirty="0">
                <a:solidFill>
                  <a:schemeClr val="accent1">
                    <a:lumMod val="50000"/>
                  </a:schemeClr>
                </a:solidFill>
              </a:rPr>
              <a:t>3. Stakeholder mapping: </a:t>
            </a:r>
            <a:r>
              <a:rPr lang="en-GB" sz="1680" dirty="0">
                <a:solidFill>
                  <a:schemeClr val="accent1">
                    <a:lumMod val="50000"/>
                  </a:schemeClr>
                </a:solidFill>
              </a:rPr>
              <a:t>all actors concerned with ASRH activities (Ghana)</a:t>
            </a:r>
            <a:endParaRPr lang="en-US" sz="1680" dirty="0">
              <a:solidFill>
                <a:schemeClr val="accent1">
                  <a:lumMod val="50000"/>
                </a:schemeClr>
              </a:solidFill>
            </a:endParaRPr>
          </a:p>
        </p:txBody>
      </p:sp>
      <p:sp>
        <p:nvSpPr>
          <p:cNvPr id="53" name="Rectangle 52"/>
          <p:cNvSpPr/>
          <p:nvPr/>
        </p:nvSpPr>
        <p:spPr>
          <a:xfrm>
            <a:off x="12070080" y="965863"/>
            <a:ext cx="2261509" cy="609398"/>
          </a:xfrm>
          <a:prstGeom prst="rect">
            <a:avLst/>
          </a:prstGeom>
          <a:solidFill>
            <a:schemeClr val="tx2">
              <a:lumMod val="20000"/>
              <a:lumOff val="80000"/>
            </a:schemeClr>
          </a:solidFill>
        </p:spPr>
        <p:txBody>
          <a:bodyPr wrap="square">
            <a:spAutoFit/>
          </a:bodyPr>
          <a:lstStyle/>
          <a:p>
            <a:r>
              <a:rPr lang="en-US" sz="1680" dirty="0">
                <a:solidFill>
                  <a:schemeClr val="accent1">
                    <a:lumMod val="50000"/>
                  </a:schemeClr>
                </a:solidFill>
              </a:rPr>
              <a:t>Process of Identification</a:t>
            </a:r>
          </a:p>
        </p:txBody>
      </p:sp>
    </p:spTree>
    <p:extLst>
      <p:ext uri="{BB962C8B-B14F-4D97-AF65-F5344CB8AC3E}">
        <p14:creationId xmlns:p14="http://schemas.microsoft.com/office/powerpoint/2010/main" val="3166758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9248"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11" name="Title 10"/>
          <p:cNvSpPr>
            <a:spLocks noGrp="1"/>
          </p:cNvSpPr>
          <p:nvPr>
            <p:ph type="title"/>
          </p:nvPr>
        </p:nvSpPr>
        <p:spPr>
          <a:xfrm>
            <a:off x="338139" y="3385185"/>
            <a:ext cx="13954122" cy="1151645"/>
          </a:xfrm>
        </p:spPr>
        <p:txBody>
          <a:bodyPr vert="horz"/>
          <a:lstStyle/>
          <a:p>
            <a:r>
              <a:rPr lang="en-US" sz="4000" dirty="0"/>
              <a:t>Priority interventions to achieve improved ASRH in Ghana and Senegal</a:t>
            </a:r>
            <a:endParaRPr lang="en-US" sz="4000" b="1" dirty="0"/>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pPr defTabSz="1097280">
              <a:defRPr/>
            </a:pPr>
            <a:fld id="{5532CCE1-A0C2-41E5-A591-F2780608C8A4}"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a:xfrm>
            <a:off x="12502341" y="7627621"/>
            <a:ext cx="1811826" cy="438150"/>
          </a:xfrm>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8</a:t>
            </a:fld>
            <a:endParaRPr lang="en-US" sz="1440">
              <a:solidFill>
                <a:prstClr val="black">
                  <a:tint val="75000"/>
                </a:prstClr>
              </a:solidFill>
              <a:latin typeface="Arial" panose="020B0604020202020204"/>
            </a:endParaRPr>
          </a:p>
        </p:txBody>
      </p:sp>
    </p:spTree>
    <p:extLst>
      <p:ext uri="{BB962C8B-B14F-4D97-AF65-F5344CB8AC3E}">
        <p14:creationId xmlns:p14="http://schemas.microsoft.com/office/powerpoint/2010/main" val="132786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DC89D4-AC7A-49C4-B1E4-062EEC6C92B9}"/>
              </a:ext>
            </a:extLst>
          </p:cNvPr>
          <p:cNvGraphicFramePr>
            <a:graphicFrameLocks noChangeAspect="1"/>
          </p:cNvGraphicFramePr>
          <p:nvPr>
            <p:custDataLst>
              <p:tags r:id="rId2"/>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spid="_x0000_s11296" name="think-cell Slide" r:id="rId4" imgW="378" imgH="377" progId="TCLayout.ActiveDocument.1">
                  <p:embed/>
                </p:oleObj>
              </mc:Choice>
              <mc:Fallback>
                <p:oleObj name="think-cell Slide" r:id="rId4" imgW="378" imgH="377" progId="TCLayout.ActiveDocument.1">
                  <p:embed/>
                  <p:pic>
                    <p:nvPicPr>
                      <p:cNvPr id="2" name="Object 1" hidden="1">
                        <a:extLst>
                          <a:ext uri="{FF2B5EF4-FFF2-40B4-BE49-F238E27FC236}">
                            <a16:creationId xmlns:a16="http://schemas.microsoft.com/office/drawing/2014/main" id="{BDDC89D4-AC7A-49C4-B1E4-062EEC6C92B9}"/>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sp>
        <p:nvSpPr>
          <p:cNvPr id="11" name="Title 10"/>
          <p:cNvSpPr>
            <a:spLocks noGrp="1"/>
          </p:cNvSpPr>
          <p:nvPr>
            <p:ph type="title"/>
          </p:nvPr>
        </p:nvSpPr>
        <p:spPr/>
        <p:txBody>
          <a:bodyPr vert="horz"/>
          <a:lstStyle/>
          <a:p>
            <a:r>
              <a:rPr lang="en-US" sz="2280" dirty="0"/>
              <a:t>Criteria for Identifying Priority interventions or strategies to address ASRH challenges in Ghana</a:t>
            </a:r>
            <a:endParaRPr lang="en-US" sz="2280" b="1" dirty="0"/>
          </a:p>
        </p:txBody>
      </p:sp>
      <p:sp>
        <p:nvSpPr>
          <p:cNvPr id="7" name="Date Placeholder 6">
            <a:extLst>
              <a:ext uri="{FF2B5EF4-FFF2-40B4-BE49-F238E27FC236}">
                <a16:creationId xmlns:a16="http://schemas.microsoft.com/office/drawing/2014/main" id="{E96E31F0-B7E0-4D20-8D36-9C355E7CE23F}"/>
              </a:ext>
            </a:extLst>
          </p:cNvPr>
          <p:cNvSpPr>
            <a:spLocks noGrp="1"/>
          </p:cNvSpPr>
          <p:nvPr>
            <p:ph type="dt" sz="half" idx="10"/>
          </p:nvPr>
        </p:nvSpPr>
        <p:spPr/>
        <p:txBody>
          <a:bodyPr/>
          <a:lstStyle/>
          <a:p>
            <a:pPr defTabSz="1097280">
              <a:defRPr/>
            </a:pPr>
            <a:fld id="{5532CCE1-A0C2-41E5-A591-F2780608C8A4}" type="datetime1">
              <a:rPr lang="en-US" sz="1440">
                <a:solidFill>
                  <a:prstClr val="black">
                    <a:tint val="75000"/>
                  </a:prstClr>
                </a:solidFill>
                <a:latin typeface="Arial" panose="020B0604020202020204"/>
              </a:rPr>
              <a:pPr defTabSz="1097280">
                <a:defRPr/>
              </a:pPr>
              <a:t>9/6/23</a:t>
            </a:fld>
            <a:endParaRPr lang="en-US" sz="1440">
              <a:solidFill>
                <a:prstClr val="black">
                  <a:tint val="75000"/>
                </a:prstClr>
              </a:solidFill>
              <a:latin typeface="Arial" panose="020B0604020202020204"/>
            </a:endParaRPr>
          </a:p>
        </p:txBody>
      </p:sp>
      <p:sp>
        <p:nvSpPr>
          <p:cNvPr id="8" name="Slide Number Placeholder 7">
            <a:extLst>
              <a:ext uri="{FF2B5EF4-FFF2-40B4-BE49-F238E27FC236}">
                <a16:creationId xmlns:a16="http://schemas.microsoft.com/office/drawing/2014/main" id="{45D298FF-107A-4B2D-9E13-06074B613950}"/>
              </a:ext>
            </a:extLst>
          </p:cNvPr>
          <p:cNvSpPr>
            <a:spLocks noGrp="1"/>
          </p:cNvSpPr>
          <p:nvPr>
            <p:ph type="sldNum" sz="quarter" idx="12"/>
          </p:nvPr>
        </p:nvSpPr>
        <p:spPr>
          <a:xfrm>
            <a:off x="12502341" y="7627621"/>
            <a:ext cx="1811826" cy="438150"/>
          </a:xfrm>
        </p:spPr>
        <p:txBody>
          <a:bodyPr/>
          <a:lstStyle/>
          <a:p>
            <a:pPr algn="r" defTabSz="1097280">
              <a:defRPr/>
            </a:pPr>
            <a:fld id="{1DB6C988-4D17-4769-AFD6-9FA8E95C5F4D}" type="slidenum">
              <a:rPr lang="en-US" sz="1440">
                <a:solidFill>
                  <a:prstClr val="black">
                    <a:tint val="75000"/>
                  </a:prstClr>
                </a:solidFill>
                <a:latin typeface="Arial" panose="020B0604020202020204"/>
              </a:rPr>
              <a:pPr algn="r" defTabSz="1097280">
                <a:defRPr/>
              </a:pPr>
              <a:t>9</a:t>
            </a:fld>
            <a:endParaRPr lang="en-US" sz="1440">
              <a:solidFill>
                <a:prstClr val="black">
                  <a:tint val="75000"/>
                </a:prstClr>
              </a:solidFill>
              <a:latin typeface="Arial" panose="020B0604020202020204"/>
            </a:endParaRPr>
          </a:p>
        </p:txBody>
      </p:sp>
      <p:sp>
        <p:nvSpPr>
          <p:cNvPr id="23" name="Rectangle 22">
            <a:extLst>
              <a:ext uri="{FF2B5EF4-FFF2-40B4-BE49-F238E27FC236}">
                <a16:creationId xmlns:a16="http://schemas.microsoft.com/office/drawing/2014/main" id="{8A5DB5EB-06AE-4B14-A35D-EB2CF4A77999}"/>
              </a:ext>
            </a:extLst>
          </p:cNvPr>
          <p:cNvSpPr/>
          <p:nvPr/>
        </p:nvSpPr>
        <p:spPr>
          <a:xfrm>
            <a:off x="360046" y="1502627"/>
            <a:ext cx="4680172" cy="512050"/>
          </a:xfrm>
          <a:prstGeom prst="rect">
            <a:avLst/>
          </a:prstGeom>
          <a:solidFill>
            <a:srgbClr val="006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129600" bIns="86400" numCol="1" spcCol="0" rtlCol="0" fromWordArt="0" anchor="ctr" anchorCtr="0" forceAA="0" compatLnSpc="1">
            <a:prstTxWarp prst="textNoShape">
              <a:avLst/>
            </a:prstTxWarp>
            <a:noAutofit/>
          </a:bodyPr>
          <a:lstStyle/>
          <a:p>
            <a:pPr>
              <a:spcBef>
                <a:spcPts val="480"/>
              </a:spcBef>
              <a:defRPr/>
            </a:pPr>
            <a:r>
              <a:rPr lang="en-US" sz="1680" b="1" dirty="0">
                <a:solidFill>
                  <a:prstClr val="white"/>
                </a:solidFill>
                <a:latin typeface="Arial" panose="020B0604020202020204"/>
                <a:ea typeface="Verdana" pitchFamily="34" charset="0"/>
                <a:cs typeface="Verdana" pitchFamily="34" charset="0"/>
              </a:rPr>
              <a:t>i. </a:t>
            </a:r>
            <a:r>
              <a:rPr lang="en-US" sz="1680" b="1" dirty="0">
                <a:solidFill>
                  <a:prstClr val="white"/>
                </a:solidFill>
                <a:ea typeface="Verdana" pitchFamily="34" charset="0"/>
                <a:cs typeface="Verdana" pitchFamily="34" charset="0"/>
              </a:rPr>
              <a:t>Targeting social determinants</a:t>
            </a:r>
            <a:endParaRPr lang="en-US" sz="1680" b="1" dirty="0">
              <a:solidFill>
                <a:prstClr val="white"/>
              </a:solidFill>
              <a:latin typeface="Arial" panose="020B0604020202020204"/>
              <a:ea typeface="Verdana" pitchFamily="34" charset="0"/>
              <a:cs typeface="Verdana" pitchFamily="34" charset="0"/>
            </a:endParaRPr>
          </a:p>
        </p:txBody>
      </p:sp>
      <p:sp>
        <p:nvSpPr>
          <p:cNvPr id="30" name="Rectangle 29">
            <a:extLst>
              <a:ext uri="{FF2B5EF4-FFF2-40B4-BE49-F238E27FC236}">
                <a16:creationId xmlns:a16="http://schemas.microsoft.com/office/drawing/2014/main" id="{036A0B53-05A7-44B3-BAD7-C5C9A9F03E0E}"/>
              </a:ext>
            </a:extLst>
          </p:cNvPr>
          <p:cNvSpPr/>
          <p:nvPr/>
        </p:nvSpPr>
        <p:spPr>
          <a:xfrm>
            <a:off x="360044" y="2014677"/>
            <a:ext cx="4649520" cy="2413669"/>
          </a:xfrm>
          <a:prstGeom prst="rect">
            <a:avLst/>
          </a:prstGeom>
          <a:solidFill>
            <a:schemeClr val="bg1"/>
          </a:solidFill>
          <a:ln w="9525">
            <a:solidFill>
              <a:srgbClr val="8BB8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129600" bIns="86400" numCol="1" spcCol="0" rtlCol="0" fromWordArt="0" anchor="t" anchorCtr="0" forceAA="0" compatLnSpc="1">
            <a:prstTxWarp prst="textNoShape">
              <a:avLst/>
            </a:prstTxWarp>
            <a:noAutofit/>
          </a:bodyPr>
          <a:lstStyle/>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Education in general, especially secondary education </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Promoting and strengthening legal or policy measures with the participation of adolescents and youth. </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Promoting the economic “empowerment” of girls. </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Wide dissemination of information through communities, schools, traditional and new media</a:t>
            </a:r>
          </a:p>
        </p:txBody>
      </p:sp>
      <p:sp>
        <p:nvSpPr>
          <p:cNvPr id="41" name="Rectangle 40">
            <a:extLst>
              <a:ext uri="{FF2B5EF4-FFF2-40B4-BE49-F238E27FC236}">
                <a16:creationId xmlns:a16="http://schemas.microsoft.com/office/drawing/2014/main" id="{ABD9F613-0209-4C53-BB7E-14D9D0DB6123}"/>
              </a:ext>
            </a:extLst>
          </p:cNvPr>
          <p:cNvSpPr/>
          <p:nvPr/>
        </p:nvSpPr>
        <p:spPr>
          <a:xfrm>
            <a:off x="5070877" y="1494897"/>
            <a:ext cx="4563120" cy="533418"/>
          </a:xfrm>
          <a:prstGeom prst="rect">
            <a:avLst/>
          </a:prstGeom>
          <a:solidFill>
            <a:srgbClr val="006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216000" bIns="86400" numCol="1" spcCol="0" rtlCol="0" fromWordArt="0" anchor="ctr" anchorCtr="0" forceAA="0" compatLnSpc="1">
            <a:prstTxWarp prst="textNoShape">
              <a:avLst/>
            </a:prstTxWarp>
            <a:noAutofit/>
          </a:bodyPr>
          <a:lstStyle/>
          <a:p>
            <a:pPr lvl="0">
              <a:defRPr/>
            </a:pPr>
            <a:r>
              <a:rPr lang="en-US" sz="1560" b="1" spc="-60" dirty="0">
                <a:solidFill>
                  <a:prstClr val="white"/>
                </a:solidFill>
                <a:ea typeface="Verdana" pitchFamily="34" charset="0"/>
                <a:cs typeface="Verdana" pitchFamily="34" charset="0"/>
              </a:rPr>
              <a:t>ii. Targeting proximal social </a:t>
            </a:r>
          </a:p>
          <a:p>
            <a:pPr lvl="0">
              <a:defRPr/>
            </a:pPr>
            <a:r>
              <a:rPr lang="en-US" sz="1560" b="1" spc="-60" dirty="0">
                <a:solidFill>
                  <a:prstClr val="white"/>
                </a:solidFill>
                <a:ea typeface="Verdana" pitchFamily="34" charset="0"/>
                <a:cs typeface="Verdana" pitchFamily="34" charset="0"/>
              </a:rPr>
              <a:t>determinants (community support)</a:t>
            </a:r>
            <a:endParaRPr lang="en-US" sz="1560" b="1" spc="-60" dirty="0">
              <a:solidFill>
                <a:prstClr val="white"/>
              </a:solidFill>
              <a:latin typeface="Arial" panose="020B0604020202020204"/>
              <a:ea typeface="Verdana" pitchFamily="34" charset="0"/>
              <a:cs typeface="Verdana" pitchFamily="34" charset="0"/>
            </a:endParaRPr>
          </a:p>
        </p:txBody>
      </p:sp>
      <p:sp>
        <p:nvSpPr>
          <p:cNvPr id="43" name="Rectangle 42">
            <a:extLst>
              <a:ext uri="{FF2B5EF4-FFF2-40B4-BE49-F238E27FC236}">
                <a16:creationId xmlns:a16="http://schemas.microsoft.com/office/drawing/2014/main" id="{BD2A54FD-36C9-4C43-9940-633267A13540}"/>
              </a:ext>
            </a:extLst>
          </p:cNvPr>
          <p:cNvSpPr/>
          <p:nvPr/>
        </p:nvSpPr>
        <p:spPr>
          <a:xfrm>
            <a:off x="5069428" y="2028315"/>
            <a:ext cx="4564568" cy="2431907"/>
          </a:xfrm>
          <a:prstGeom prst="rect">
            <a:avLst/>
          </a:prstGeom>
          <a:solidFill>
            <a:schemeClr val="bg1"/>
          </a:solidFill>
          <a:ln w="9525">
            <a:solidFill>
              <a:srgbClr val="8BB8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129600" bIns="86400" numCol="1" spcCol="0" rtlCol="0" fromWordArt="0" anchor="t" anchorCtr="0" forceAA="0" compatLnSpc="1">
            <a:prstTxWarp prst="textNoShape">
              <a:avLst/>
            </a:prstTxWarp>
            <a:noAutofit/>
          </a:bodyPr>
          <a:lstStyle/>
          <a:p>
            <a:pPr marL="415290" indent="-205740">
              <a:buFont typeface="Arial" panose="020B0604020202020204" pitchFamily="34" charset="0"/>
              <a:buChar char="•"/>
              <a:defRPr/>
            </a:pPr>
            <a:r>
              <a:rPr lang="en-US" sz="1560" dirty="0">
                <a:solidFill>
                  <a:srgbClr val="006587"/>
                </a:solidFill>
                <a:ea typeface="Verdana" pitchFamily="34" charset="0"/>
                <a:cs typeface="Verdana" pitchFamily="34" charset="0"/>
              </a:rPr>
              <a:t>Promoting parental/guardian commitment and communication between parents and children </a:t>
            </a:r>
          </a:p>
          <a:p>
            <a:pPr marL="415290" indent="-205740">
              <a:buFont typeface="Arial" panose="020B0604020202020204" pitchFamily="34" charset="0"/>
              <a:buChar char="•"/>
              <a:defRPr/>
            </a:pPr>
            <a:r>
              <a:rPr lang="en-US" sz="1560" dirty="0">
                <a:solidFill>
                  <a:srgbClr val="006587"/>
                </a:solidFill>
                <a:ea typeface="Verdana" pitchFamily="34" charset="0"/>
                <a:cs typeface="Verdana" pitchFamily="34" charset="0"/>
              </a:rPr>
              <a:t>At community level: </a:t>
            </a:r>
          </a:p>
          <a:p>
            <a:pPr marL="658368" lvl="1" indent="-205740">
              <a:buFont typeface="Arial" panose="020B0604020202020204" pitchFamily="34" charset="0"/>
              <a:buChar char="•"/>
              <a:defRPr/>
            </a:pPr>
            <a:r>
              <a:rPr lang="en-US" sz="1560" dirty="0">
                <a:solidFill>
                  <a:srgbClr val="006587"/>
                </a:solidFill>
                <a:ea typeface="Verdana" pitchFamily="34" charset="0"/>
                <a:cs typeface="Verdana" pitchFamily="34" charset="0"/>
              </a:rPr>
              <a:t>Mobilisation of adults and community leaders </a:t>
            </a:r>
          </a:p>
          <a:p>
            <a:pPr marL="658368" lvl="1" indent="-205740">
              <a:buFont typeface="Arial" panose="020B0604020202020204" pitchFamily="34" charset="0"/>
              <a:buChar char="•"/>
              <a:defRPr/>
            </a:pPr>
            <a:r>
              <a:rPr lang="en-US" sz="1560" dirty="0">
                <a:solidFill>
                  <a:srgbClr val="006587"/>
                </a:solidFill>
                <a:ea typeface="Verdana" pitchFamily="34" charset="0"/>
                <a:cs typeface="Verdana" pitchFamily="34" charset="0"/>
              </a:rPr>
              <a:t>Sensitisation of boys and men for the promotion of norms of equity and gender </a:t>
            </a:r>
          </a:p>
        </p:txBody>
      </p:sp>
      <p:sp>
        <p:nvSpPr>
          <p:cNvPr id="45" name="Rectangle 44">
            <a:extLst>
              <a:ext uri="{FF2B5EF4-FFF2-40B4-BE49-F238E27FC236}">
                <a16:creationId xmlns:a16="http://schemas.microsoft.com/office/drawing/2014/main" id="{5A1576A5-8180-4EC1-AC07-F050378502B7}"/>
              </a:ext>
            </a:extLst>
          </p:cNvPr>
          <p:cNvSpPr/>
          <p:nvPr/>
        </p:nvSpPr>
        <p:spPr>
          <a:xfrm>
            <a:off x="360049" y="4546621"/>
            <a:ext cx="13954116" cy="462403"/>
          </a:xfrm>
          <a:prstGeom prst="rect">
            <a:avLst/>
          </a:prstGeom>
          <a:solidFill>
            <a:srgbClr val="006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129600" bIns="86400" numCol="1" spcCol="0" rtlCol="0" fromWordArt="0" anchor="ctr" anchorCtr="0" forceAA="0" compatLnSpc="1">
            <a:prstTxWarp prst="textNoShape">
              <a:avLst/>
            </a:prstTxWarp>
            <a:noAutofit/>
          </a:bodyPr>
          <a:lstStyle/>
          <a:p>
            <a:pPr>
              <a:spcBef>
                <a:spcPts val="480"/>
              </a:spcBef>
              <a:defRPr/>
            </a:pPr>
            <a:r>
              <a:rPr lang="en-US" sz="1680" b="1" dirty="0">
                <a:solidFill>
                  <a:prstClr val="white"/>
                </a:solidFill>
                <a:ea typeface="Verdana" pitchFamily="34" charset="0"/>
                <a:cs typeface="Verdana" pitchFamily="34" charset="0"/>
              </a:rPr>
              <a:t>iv. Targeting adolescents and youth health problems </a:t>
            </a:r>
          </a:p>
        </p:txBody>
      </p:sp>
      <p:sp>
        <p:nvSpPr>
          <p:cNvPr id="46" name="Rectangle 45">
            <a:extLst>
              <a:ext uri="{FF2B5EF4-FFF2-40B4-BE49-F238E27FC236}">
                <a16:creationId xmlns:a16="http://schemas.microsoft.com/office/drawing/2014/main" id="{D9767D98-A77B-4BE4-8802-FFD9DE6247CF}"/>
              </a:ext>
            </a:extLst>
          </p:cNvPr>
          <p:cNvSpPr/>
          <p:nvPr/>
        </p:nvSpPr>
        <p:spPr>
          <a:xfrm>
            <a:off x="360049" y="4977149"/>
            <a:ext cx="13954117" cy="2463782"/>
          </a:xfrm>
          <a:prstGeom prst="rect">
            <a:avLst/>
          </a:prstGeom>
          <a:solidFill>
            <a:schemeClr val="bg1"/>
          </a:solidFill>
          <a:ln w="9525">
            <a:solidFill>
              <a:srgbClr val="8BB8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129600" bIns="86400" numCol="1" spcCol="0" rtlCol="0" fromWordArt="0" anchor="t" anchorCtr="0" forceAA="0" compatLnSpc="1">
            <a:prstTxWarp prst="textNoShape">
              <a:avLst/>
            </a:prstTxWarp>
            <a:noAutofit/>
          </a:bodyPr>
          <a:lstStyle/>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Combination: </a:t>
            </a:r>
          </a:p>
          <a:p>
            <a:pPr marL="758190" lvl="1" indent="-209550">
              <a:buFont typeface="Arial" panose="020B0604020202020204" pitchFamily="34" charset="0"/>
              <a:buChar char="•"/>
              <a:defRPr/>
            </a:pPr>
            <a:r>
              <a:rPr lang="en-US" sz="1560" dirty="0">
                <a:solidFill>
                  <a:srgbClr val="006587"/>
                </a:solidFill>
                <a:ea typeface="Verdana" pitchFamily="34" charset="0"/>
                <a:cs typeface="Verdana" pitchFamily="34" charset="0"/>
              </a:rPr>
              <a:t>Training of service providers </a:t>
            </a:r>
          </a:p>
          <a:p>
            <a:pPr marL="758190" lvl="1" indent="-209550">
              <a:buFont typeface="Arial" panose="020B0604020202020204" pitchFamily="34" charset="0"/>
              <a:buChar char="•"/>
              <a:defRPr/>
            </a:pPr>
            <a:r>
              <a:rPr lang="en-US" sz="1560" dirty="0">
                <a:solidFill>
                  <a:srgbClr val="006587"/>
                </a:solidFill>
                <a:ea typeface="Verdana" pitchFamily="34" charset="0"/>
                <a:cs typeface="Verdana" pitchFamily="34" charset="0"/>
              </a:rPr>
              <a:t>Improving appropriate service facilities </a:t>
            </a:r>
          </a:p>
          <a:p>
            <a:pPr marL="758190" lvl="1" indent="-209550">
              <a:buFont typeface="Arial" panose="020B0604020202020204" pitchFamily="34" charset="0"/>
              <a:buChar char="•"/>
              <a:defRPr/>
            </a:pPr>
            <a:r>
              <a:rPr lang="en-US" sz="1560" dirty="0">
                <a:solidFill>
                  <a:srgbClr val="006587"/>
                </a:solidFill>
                <a:ea typeface="Verdana" pitchFamily="34" charset="0"/>
                <a:cs typeface="Verdana" pitchFamily="34" charset="0"/>
              </a:rPr>
              <a:t>Wide dissemination of information through communities, schools and traditional and new media </a:t>
            </a:r>
          </a:p>
          <a:p>
            <a:pPr lvl="1">
              <a:defRPr/>
            </a:pPr>
            <a:endParaRPr lang="en-US" sz="1560" dirty="0">
              <a:solidFill>
                <a:srgbClr val="006587"/>
              </a:solidFill>
              <a:ea typeface="Verdana" pitchFamily="34" charset="0"/>
              <a:cs typeface="Verdana" pitchFamily="34" charset="0"/>
            </a:endParaRP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Establishment of adolescent and youth-friendly health centres</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Development of standards of quality services for adolescents and youth</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Access to contraception</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Focused antenatal care for pregnant adolescents</a:t>
            </a:r>
            <a:endParaRPr lang="en-US" sz="1560" dirty="0">
              <a:solidFill>
                <a:srgbClr val="006587"/>
              </a:solidFill>
              <a:latin typeface="Arial" panose="020B0604020202020204"/>
              <a:ea typeface="Verdana" pitchFamily="34" charset="0"/>
              <a:cs typeface="Verdana" pitchFamily="34" charset="0"/>
            </a:endParaRPr>
          </a:p>
        </p:txBody>
      </p:sp>
      <p:sp>
        <p:nvSpPr>
          <p:cNvPr id="48" name="Rectangle 47">
            <a:extLst>
              <a:ext uri="{FF2B5EF4-FFF2-40B4-BE49-F238E27FC236}">
                <a16:creationId xmlns:a16="http://schemas.microsoft.com/office/drawing/2014/main" id="{9A6FF0DA-297A-4C69-A7B7-05278C38D8B6}"/>
              </a:ext>
            </a:extLst>
          </p:cNvPr>
          <p:cNvSpPr/>
          <p:nvPr/>
        </p:nvSpPr>
        <p:spPr>
          <a:xfrm>
            <a:off x="9751051" y="1494897"/>
            <a:ext cx="4593774" cy="537770"/>
          </a:xfrm>
          <a:prstGeom prst="rect">
            <a:avLst/>
          </a:prstGeom>
          <a:solidFill>
            <a:srgbClr val="00658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6400" tIns="86400" rIns="43200" bIns="86400" numCol="1" spcCol="0" rtlCol="0" fromWordArt="0" anchor="ctr" anchorCtr="0" forceAA="0" compatLnSpc="1">
            <a:prstTxWarp prst="textNoShape">
              <a:avLst/>
            </a:prstTxWarp>
            <a:noAutofit/>
          </a:bodyPr>
          <a:lstStyle/>
          <a:p>
            <a:pPr>
              <a:spcBef>
                <a:spcPts val="480"/>
              </a:spcBef>
              <a:defRPr/>
            </a:pPr>
            <a:r>
              <a:rPr lang="en-US" sz="1560" b="1" dirty="0">
                <a:solidFill>
                  <a:prstClr val="white"/>
                </a:solidFill>
                <a:ea typeface="Verdana" pitchFamily="34" charset="0"/>
                <a:cs typeface="Verdana" pitchFamily="34" charset="0"/>
              </a:rPr>
              <a:t>iii. Targeting knowledge, behaviour </a:t>
            </a:r>
          </a:p>
          <a:p>
            <a:pPr>
              <a:spcBef>
                <a:spcPts val="480"/>
              </a:spcBef>
              <a:defRPr/>
            </a:pPr>
            <a:r>
              <a:rPr lang="en-US" sz="1560" b="1" dirty="0">
                <a:solidFill>
                  <a:prstClr val="white"/>
                </a:solidFill>
                <a:ea typeface="Verdana" pitchFamily="34" charset="0"/>
                <a:cs typeface="Verdana" pitchFamily="34" charset="0"/>
              </a:rPr>
              <a:t>and lifestyle </a:t>
            </a:r>
          </a:p>
        </p:txBody>
      </p:sp>
      <p:sp>
        <p:nvSpPr>
          <p:cNvPr id="49" name="Rectangle 48">
            <a:extLst>
              <a:ext uri="{FF2B5EF4-FFF2-40B4-BE49-F238E27FC236}">
                <a16:creationId xmlns:a16="http://schemas.microsoft.com/office/drawing/2014/main" id="{D961786B-24DE-4EA9-B3E9-CE0E4E8AB03A}"/>
              </a:ext>
            </a:extLst>
          </p:cNvPr>
          <p:cNvSpPr/>
          <p:nvPr/>
        </p:nvSpPr>
        <p:spPr>
          <a:xfrm>
            <a:off x="9749604" y="2032667"/>
            <a:ext cx="4564568" cy="2427554"/>
          </a:xfrm>
          <a:prstGeom prst="rect">
            <a:avLst/>
          </a:prstGeom>
          <a:solidFill>
            <a:schemeClr val="bg1"/>
          </a:solidFill>
          <a:ln w="9525">
            <a:solidFill>
              <a:srgbClr val="8BB8C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9600" tIns="86400" rIns="129600" bIns="86400" numCol="1" spcCol="0" rtlCol="0" fromWordArt="0" anchor="t" anchorCtr="0" forceAA="0" compatLnSpc="1">
            <a:prstTxWarp prst="textNoShape">
              <a:avLst/>
            </a:prstTxWarp>
            <a:noAutofit/>
          </a:bodyPr>
          <a:lstStyle/>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Creation of safe environments for girls (establishing trust, promoting communication and dialogue) </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Adolescent and youth-friendly centres adequately established </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Peer education implemented within programmes </a:t>
            </a:r>
          </a:p>
          <a:p>
            <a:pPr marL="209550" indent="-209550">
              <a:buFont typeface="Arial" panose="020B0604020202020204" pitchFamily="34" charset="0"/>
              <a:buChar char="•"/>
              <a:defRPr/>
            </a:pPr>
            <a:r>
              <a:rPr lang="en-US" sz="1560" dirty="0">
                <a:solidFill>
                  <a:srgbClr val="006587"/>
                </a:solidFill>
                <a:ea typeface="Verdana" pitchFamily="34" charset="0"/>
                <a:cs typeface="Verdana" pitchFamily="34" charset="0"/>
              </a:rPr>
              <a:t>Promoting parental/guardian commitment and communication </a:t>
            </a:r>
          </a:p>
        </p:txBody>
      </p:sp>
      <p:sp>
        <p:nvSpPr>
          <p:cNvPr id="65" name="Right Triangle 64">
            <a:extLst>
              <a:ext uri="{FF2B5EF4-FFF2-40B4-BE49-F238E27FC236}">
                <a16:creationId xmlns:a16="http://schemas.microsoft.com/office/drawing/2014/main" id="{41E8EF8F-FCC9-42A5-AA78-890D0DF9C788}"/>
              </a:ext>
            </a:extLst>
          </p:cNvPr>
          <p:cNvSpPr/>
          <p:nvPr/>
        </p:nvSpPr>
        <p:spPr>
          <a:xfrm flipH="1">
            <a:off x="14024610" y="7090956"/>
            <a:ext cx="289560" cy="349975"/>
          </a:xfrm>
          <a:prstGeom prst="rtTriangle">
            <a:avLst/>
          </a:pr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a:defRPr/>
            </a:pPr>
            <a:endParaRPr lang="en-US" sz="2160">
              <a:solidFill>
                <a:prstClr val="white"/>
              </a:solidFill>
              <a:latin typeface="Arial" panose="020B0604020202020204"/>
            </a:endParaRPr>
          </a:p>
        </p:txBody>
      </p:sp>
      <p:sp>
        <p:nvSpPr>
          <p:cNvPr id="67" name="Right Triangle 66">
            <a:extLst>
              <a:ext uri="{FF2B5EF4-FFF2-40B4-BE49-F238E27FC236}">
                <a16:creationId xmlns:a16="http://schemas.microsoft.com/office/drawing/2014/main" id="{2F54E5DD-4197-4E66-998A-2C90C0D7D629}"/>
              </a:ext>
            </a:extLst>
          </p:cNvPr>
          <p:cNvSpPr/>
          <p:nvPr/>
        </p:nvSpPr>
        <p:spPr>
          <a:xfrm flipH="1">
            <a:off x="14024610" y="4110246"/>
            <a:ext cx="289560" cy="349975"/>
          </a:xfrm>
          <a:prstGeom prst="rtTriangle">
            <a:avLst/>
          </a:pr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a:defRPr/>
            </a:pPr>
            <a:endParaRPr lang="en-US" sz="2160">
              <a:solidFill>
                <a:prstClr val="white"/>
              </a:solidFill>
              <a:latin typeface="Arial" panose="020B0604020202020204"/>
            </a:endParaRPr>
          </a:p>
        </p:txBody>
      </p:sp>
      <p:sp>
        <p:nvSpPr>
          <p:cNvPr id="68" name="Right Triangle 67">
            <a:extLst>
              <a:ext uri="{FF2B5EF4-FFF2-40B4-BE49-F238E27FC236}">
                <a16:creationId xmlns:a16="http://schemas.microsoft.com/office/drawing/2014/main" id="{069EBD03-E368-475F-ACE1-1FCC4DE917DA}"/>
              </a:ext>
            </a:extLst>
          </p:cNvPr>
          <p:cNvSpPr/>
          <p:nvPr/>
        </p:nvSpPr>
        <p:spPr>
          <a:xfrm flipH="1">
            <a:off x="9344436" y="4110246"/>
            <a:ext cx="289560" cy="349975"/>
          </a:xfrm>
          <a:prstGeom prst="rtTriangle">
            <a:avLst/>
          </a:pr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a:defRPr/>
            </a:pPr>
            <a:endParaRPr lang="en-US" sz="2160">
              <a:solidFill>
                <a:prstClr val="white"/>
              </a:solidFill>
              <a:latin typeface="Arial" panose="020B0604020202020204"/>
            </a:endParaRPr>
          </a:p>
        </p:txBody>
      </p:sp>
      <p:sp>
        <p:nvSpPr>
          <p:cNvPr id="69" name="Right Triangle 68">
            <a:extLst>
              <a:ext uri="{FF2B5EF4-FFF2-40B4-BE49-F238E27FC236}">
                <a16:creationId xmlns:a16="http://schemas.microsoft.com/office/drawing/2014/main" id="{D01874C2-ED75-47D0-B7C6-D7B810301C59}"/>
              </a:ext>
            </a:extLst>
          </p:cNvPr>
          <p:cNvSpPr/>
          <p:nvPr/>
        </p:nvSpPr>
        <p:spPr>
          <a:xfrm flipH="1">
            <a:off x="4664262" y="4110246"/>
            <a:ext cx="289560" cy="349975"/>
          </a:xfrm>
          <a:prstGeom prst="rtTriangle">
            <a:avLst/>
          </a:prstGeom>
          <a:solidFill>
            <a:srgbClr val="5496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a:defRPr/>
            </a:pPr>
            <a:endParaRPr lang="en-US" sz="2160">
              <a:solidFill>
                <a:prstClr val="white"/>
              </a:solidFill>
              <a:latin typeface="Arial" panose="020B0604020202020204"/>
            </a:endParaRPr>
          </a:p>
        </p:txBody>
      </p:sp>
      <p:sp>
        <p:nvSpPr>
          <p:cNvPr id="3" name="Rectangle 2"/>
          <p:cNvSpPr/>
          <p:nvPr/>
        </p:nvSpPr>
        <p:spPr>
          <a:xfrm>
            <a:off x="223781" y="7352685"/>
            <a:ext cx="6289158" cy="388183"/>
          </a:xfrm>
          <a:prstGeom prst="rect">
            <a:avLst/>
          </a:prstGeom>
        </p:spPr>
        <p:txBody>
          <a:bodyPr wrap="none">
            <a:spAutoFit/>
          </a:bodyPr>
          <a:lstStyle/>
          <a:p>
            <a:pPr marL="109728" algn="just">
              <a:lnSpc>
                <a:spcPct val="150000"/>
              </a:lnSpc>
              <a:spcBef>
                <a:spcPts val="600"/>
              </a:spcBef>
            </a:pPr>
            <a:r>
              <a:rPr lang="en-CA" sz="1440" spc="12" dirty="0">
                <a:latin typeface="MS Reference Sans Serif" panose="020B0604030504040204" pitchFamily="34" charset="0"/>
                <a:ea typeface="Times New Roman" panose="02020603050405020304" pitchFamily="18" charset="0"/>
                <a:cs typeface="Courier New" panose="02070309020205020404" pitchFamily="49" charset="0"/>
              </a:rPr>
              <a:t>Source: Adapted from West African Health Organization (2016)</a:t>
            </a:r>
            <a:endParaRPr lang="en-US" sz="1440"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794812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3393</TotalTime>
  <Words>5083</Words>
  <Application>Microsoft Macintosh PowerPoint</Application>
  <PresentationFormat>Custom</PresentationFormat>
  <Paragraphs>824</Paragraphs>
  <Slides>55</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6" baseType="lpstr">
      <vt:lpstr>Inter</vt:lpstr>
      <vt:lpstr>Söhne</vt:lpstr>
      <vt:lpstr>Arial</vt:lpstr>
      <vt:lpstr>Calibri</vt:lpstr>
      <vt:lpstr>Calibri Light</vt:lpstr>
      <vt:lpstr>Georgia</vt:lpstr>
      <vt:lpstr>MS Reference Sans Serif</vt:lpstr>
      <vt:lpstr>Times</vt:lpstr>
      <vt:lpstr>Times New Roman</vt:lpstr>
      <vt:lpstr>Office Theme</vt:lpstr>
      <vt:lpstr>think-cell Slide</vt:lpstr>
      <vt:lpstr>PowerPoint Presentation</vt:lpstr>
      <vt:lpstr>Outline</vt:lpstr>
      <vt:lpstr>Introduction</vt:lpstr>
      <vt:lpstr>Domestic Government expenditure on reproductive health, ECOWAS (2018)</vt:lpstr>
      <vt:lpstr>Project Overview</vt:lpstr>
      <vt:lpstr>Objectives</vt:lpstr>
      <vt:lpstr>Study Design and Methods</vt:lpstr>
      <vt:lpstr>Priority interventions to achieve improved ASRH in Ghana and Senegal</vt:lpstr>
      <vt:lpstr>Criteria for Identifying Priority interventions or strategies to address ASRH challenges in Ghan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vt:lpstr>
      <vt:lpstr>Cost interventions identified as priority interventions for addressing adolescent health in Ghana &amp; Senega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thodology</vt:lpstr>
      <vt:lpstr>Results (1)</vt:lpstr>
      <vt:lpstr>Results (2)</vt:lpstr>
      <vt:lpstr>Recommendations</vt:lpstr>
      <vt:lpstr>PowerPoint Presentation</vt:lpstr>
      <vt:lpstr>Objective 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negal-Health Financing and Funding Gaps for ASRH interventions</vt:lpstr>
      <vt:lpstr>ASRH Financing</vt:lpstr>
      <vt:lpstr>Funding gap</vt:lpstr>
      <vt:lpstr>Strategies to Address ASRH Funding Gap </vt:lpstr>
      <vt:lpstr>Conclusion</vt:lpstr>
      <vt:lpstr>Thank you for your atten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xGenJS Presentation</dc:title>
  <dc:subject>PptxGenJS Presentation</dc:subject>
  <dc:creator>PptxGenJS</dc:creator>
  <cp:lastModifiedBy>Pokuaafenny@outlook.com</cp:lastModifiedBy>
  <cp:revision>33</cp:revision>
  <dcterms:created xsi:type="dcterms:W3CDTF">2023-06-23T20:00:29Z</dcterms:created>
  <dcterms:modified xsi:type="dcterms:W3CDTF">2023-09-06T19:29:54Z</dcterms:modified>
</cp:coreProperties>
</file>